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6"/>
  </p:notesMasterIdLst>
  <p:sldIdLst>
    <p:sldId id="256" r:id="rId2"/>
    <p:sldId id="257" r:id="rId3"/>
    <p:sldId id="266" r:id="rId4"/>
    <p:sldId id="267" r:id="rId5"/>
    <p:sldId id="269" r:id="rId6"/>
    <p:sldId id="273" r:id="rId7"/>
    <p:sldId id="270" r:id="rId8"/>
    <p:sldId id="272" r:id="rId9"/>
    <p:sldId id="276" r:id="rId10"/>
    <p:sldId id="277" r:id="rId11"/>
    <p:sldId id="278" r:id="rId12"/>
    <p:sldId id="274" r:id="rId13"/>
    <p:sldId id="275" r:id="rId14"/>
    <p:sldId id="279" r:id="rId15"/>
  </p:sldIdLst>
  <p:sldSz cx="9144000" cy="6858000" type="screen4x3"/>
  <p:notesSz cx="7086600" cy="9372600"/>
  <p:defaultTextStyle>
    <a:defPPr>
      <a:defRPr lang="el-G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A42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 pośredni 2 — Ak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2439" autoAdjust="0"/>
    <p:restoredTop sz="94741" autoAdjust="0"/>
  </p:normalViewPr>
  <p:slideViewPr>
    <p:cSldViewPr>
      <p:cViewPr varScale="1">
        <p:scale>
          <a:sx n="65" d="100"/>
          <a:sy n="65" d="100"/>
        </p:scale>
        <p:origin x="1060" y="4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0225" cy="4683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4014788" y="0"/>
            <a:ext cx="3070225" cy="4683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C93F7E1-938F-4743-AD54-D0C4E844FBEA}" type="datetimeFigureOut">
              <a:rPr lang="en-US" smtClean="0"/>
              <a:t>1/27/2021</a:t>
            </a:fld>
            <a:endParaRPr lang="en-US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200150" y="703263"/>
            <a:ext cx="4686300" cy="35147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708025" y="4451350"/>
            <a:ext cx="5670550" cy="42179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902700"/>
            <a:ext cx="3070225" cy="468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4014788" y="8902700"/>
            <a:ext cx="3070225" cy="468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0D797EC-BADC-4DE3-8E29-8862E99577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750546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ight Triangle 6"/>
          <p:cNvSpPr/>
          <p:nvPr/>
        </p:nvSpPr>
        <p:spPr>
          <a:xfrm>
            <a:off x="0" y="2647950"/>
            <a:ext cx="3571875" cy="4210050"/>
          </a:xfrm>
          <a:prstGeom prst="rt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reeform 7"/>
          <p:cNvSpPr/>
          <p:nvPr/>
        </p:nvSpPr>
        <p:spPr>
          <a:xfrm>
            <a:off x="-2380" y="-925"/>
            <a:ext cx="9146380" cy="6858925"/>
          </a:xfrm>
          <a:custGeom>
            <a:avLst/>
            <a:gdLst>
              <a:gd name="connsiteX0" fmla="*/ 0 w 3350419"/>
              <a:gd name="connsiteY0" fmla="*/ 2081213 h 2083594"/>
              <a:gd name="connsiteX1" fmla="*/ 3031331 w 3350419"/>
              <a:gd name="connsiteY1" fmla="*/ 0 h 2083594"/>
              <a:gd name="connsiteX2" fmla="*/ 3350419 w 3350419"/>
              <a:gd name="connsiteY2" fmla="*/ 80963 h 2083594"/>
              <a:gd name="connsiteX3" fmla="*/ 3350419 w 3350419"/>
              <a:gd name="connsiteY3" fmla="*/ 2083594 h 2083594"/>
              <a:gd name="connsiteX4" fmla="*/ 0 w 3350419"/>
              <a:gd name="connsiteY4" fmla="*/ 2081213 h 2083594"/>
              <a:gd name="connsiteX0" fmla="*/ 0 w 3112294"/>
              <a:gd name="connsiteY0" fmla="*/ 2019301 h 2083594"/>
              <a:gd name="connsiteX1" fmla="*/ 2793206 w 3112294"/>
              <a:gd name="connsiteY1" fmla="*/ 0 h 2083594"/>
              <a:gd name="connsiteX2" fmla="*/ 3112294 w 3112294"/>
              <a:gd name="connsiteY2" fmla="*/ 80963 h 2083594"/>
              <a:gd name="connsiteX3" fmla="*/ 3112294 w 3112294"/>
              <a:gd name="connsiteY3" fmla="*/ 2083594 h 2083594"/>
              <a:gd name="connsiteX4" fmla="*/ 0 w 3112294"/>
              <a:gd name="connsiteY4" fmla="*/ 2019301 h 2083594"/>
              <a:gd name="connsiteX0" fmla="*/ 0 w 3345656"/>
              <a:gd name="connsiteY0" fmla="*/ 2097882 h 2097882"/>
              <a:gd name="connsiteX1" fmla="*/ 3026568 w 3345656"/>
              <a:gd name="connsiteY1" fmla="*/ 0 h 2097882"/>
              <a:gd name="connsiteX2" fmla="*/ 3345656 w 3345656"/>
              <a:gd name="connsiteY2" fmla="*/ 80963 h 2097882"/>
              <a:gd name="connsiteX3" fmla="*/ 3345656 w 3345656"/>
              <a:gd name="connsiteY3" fmla="*/ 2083594 h 2097882"/>
              <a:gd name="connsiteX4" fmla="*/ 0 w 3345656"/>
              <a:gd name="connsiteY4" fmla="*/ 2097882 h 2097882"/>
              <a:gd name="connsiteX0" fmla="*/ 0 w 2800350"/>
              <a:gd name="connsiteY0" fmla="*/ 1935957 h 2083594"/>
              <a:gd name="connsiteX1" fmla="*/ 2481262 w 2800350"/>
              <a:gd name="connsiteY1" fmla="*/ 0 h 2083594"/>
              <a:gd name="connsiteX2" fmla="*/ 2800350 w 2800350"/>
              <a:gd name="connsiteY2" fmla="*/ 80963 h 2083594"/>
              <a:gd name="connsiteX3" fmla="*/ 2800350 w 2800350"/>
              <a:gd name="connsiteY3" fmla="*/ 2083594 h 2083594"/>
              <a:gd name="connsiteX4" fmla="*/ 0 w 2800350"/>
              <a:gd name="connsiteY4" fmla="*/ 1935957 h 2083594"/>
              <a:gd name="connsiteX0" fmla="*/ 0 w 3352800"/>
              <a:gd name="connsiteY0" fmla="*/ 2083594 h 2083594"/>
              <a:gd name="connsiteX1" fmla="*/ 3033712 w 3352800"/>
              <a:gd name="connsiteY1" fmla="*/ 0 h 2083594"/>
              <a:gd name="connsiteX2" fmla="*/ 3352800 w 3352800"/>
              <a:gd name="connsiteY2" fmla="*/ 80963 h 2083594"/>
              <a:gd name="connsiteX3" fmla="*/ 3352800 w 3352800"/>
              <a:gd name="connsiteY3" fmla="*/ 2083594 h 2083594"/>
              <a:gd name="connsiteX4" fmla="*/ 0 w 3352800"/>
              <a:gd name="connsiteY4" fmla="*/ 2083594 h 2083594"/>
              <a:gd name="connsiteX0" fmla="*/ 0 w 3352800"/>
              <a:gd name="connsiteY0" fmla="*/ 2002631 h 2002631"/>
              <a:gd name="connsiteX1" fmla="*/ 3033712 w 3352800"/>
              <a:gd name="connsiteY1" fmla="*/ 157162 h 2002631"/>
              <a:gd name="connsiteX2" fmla="*/ 3352800 w 3352800"/>
              <a:gd name="connsiteY2" fmla="*/ 0 h 2002631"/>
              <a:gd name="connsiteX3" fmla="*/ 3352800 w 3352800"/>
              <a:gd name="connsiteY3" fmla="*/ 2002631 h 2002631"/>
              <a:gd name="connsiteX4" fmla="*/ 0 w 3352800"/>
              <a:gd name="connsiteY4" fmla="*/ 2002631 h 2002631"/>
              <a:gd name="connsiteX0" fmla="*/ 0 w 3352800"/>
              <a:gd name="connsiteY0" fmla="*/ 2002631 h 2002631"/>
              <a:gd name="connsiteX1" fmla="*/ 2988469 w 3352800"/>
              <a:gd name="connsiteY1" fmla="*/ 59530 h 2002631"/>
              <a:gd name="connsiteX2" fmla="*/ 3352800 w 3352800"/>
              <a:gd name="connsiteY2" fmla="*/ 0 h 2002631"/>
              <a:gd name="connsiteX3" fmla="*/ 3352800 w 3352800"/>
              <a:gd name="connsiteY3" fmla="*/ 2002631 h 2002631"/>
              <a:gd name="connsiteX4" fmla="*/ 0 w 3352800"/>
              <a:gd name="connsiteY4" fmla="*/ 2002631 h 2002631"/>
              <a:gd name="connsiteX0" fmla="*/ 0 w 3352800"/>
              <a:gd name="connsiteY0" fmla="*/ 2002631 h 2002631"/>
              <a:gd name="connsiteX1" fmla="*/ 2833966 w 3352800"/>
              <a:gd name="connsiteY1" fmla="*/ 425 h 2002631"/>
              <a:gd name="connsiteX2" fmla="*/ 3352800 w 3352800"/>
              <a:gd name="connsiteY2" fmla="*/ 0 h 2002631"/>
              <a:gd name="connsiteX3" fmla="*/ 3352800 w 3352800"/>
              <a:gd name="connsiteY3" fmla="*/ 2002631 h 2002631"/>
              <a:gd name="connsiteX4" fmla="*/ 0 w 3352800"/>
              <a:gd name="connsiteY4" fmla="*/ 2002631 h 2002631"/>
              <a:gd name="connsiteX0" fmla="*/ 0 w 3352800"/>
              <a:gd name="connsiteY0" fmla="*/ 2002631 h 2002631"/>
              <a:gd name="connsiteX1" fmla="*/ 2845314 w 3352800"/>
              <a:gd name="connsiteY1" fmla="*/ 12246 h 2002631"/>
              <a:gd name="connsiteX2" fmla="*/ 3352800 w 3352800"/>
              <a:gd name="connsiteY2" fmla="*/ 0 h 2002631"/>
              <a:gd name="connsiteX3" fmla="*/ 3352800 w 3352800"/>
              <a:gd name="connsiteY3" fmla="*/ 2002631 h 2002631"/>
              <a:gd name="connsiteX4" fmla="*/ 0 w 3352800"/>
              <a:gd name="connsiteY4" fmla="*/ 2002631 h 2002631"/>
              <a:gd name="connsiteX0" fmla="*/ 0 w 3352800"/>
              <a:gd name="connsiteY0" fmla="*/ 2002631 h 2002631"/>
              <a:gd name="connsiteX1" fmla="*/ 2834839 w 3352800"/>
              <a:gd name="connsiteY1" fmla="*/ 425 h 2002631"/>
              <a:gd name="connsiteX2" fmla="*/ 3352800 w 3352800"/>
              <a:gd name="connsiteY2" fmla="*/ 0 h 2002631"/>
              <a:gd name="connsiteX3" fmla="*/ 3352800 w 3352800"/>
              <a:gd name="connsiteY3" fmla="*/ 2002631 h 2002631"/>
              <a:gd name="connsiteX4" fmla="*/ 0 w 3352800"/>
              <a:gd name="connsiteY4" fmla="*/ 2002631 h 2002631"/>
              <a:gd name="connsiteX0" fmla="*/ 0 w 3352800"/>
              <a:gd name="connsiteY0" fmla="*/ 2002631 h 2002631"/>
              <a:gd name="connsiteX1" fmla="*/ 2875865 w 3352800"/>
              <a:gd name="connsiteY1" fmla="*/ 81782 h 2002631"/>
              <a:gd name="connsiteX2" fmla="*/ 3352800 w 3352800"/>
              <a:gd name="connsiteY2" fmla="*/ 0 h 2002631"/>
              <a:gd name="connsiteX3" fmla="*/ 3352800 w 3352800"/>
              <a:gd name="connsiteY3" fmla="*/ 2002631 h 2002631"/>
              <a:gd name="connsiteX4" fmla="*/ 0 w 3352800"/>
              <a:gd name="connsiteY4" fmla="*/ 2002631 h 2002631"/>
              <a:gd name="connsiteX0" fmla="*/ 0 w 3352800"/>
              <a:gd name="connsiteY0" fmla="*/ 2002901 h 2002901"/>
              <a:gd name="connsiteX1" fmla="*/ 2836585 w 3352800"/>
              <a:gd name="connsiteY1" fmla="*/ 0 h 2002901"/>
              <a:gd name="connsiteX2" fmla="*/ 3352800 w 3352800"/>
              <a:gd name="connsiteY2" fmla="*/ 270 h 2002901"/>
              <a:gd name="connsiteX3" fmla="*/ 3352800 w 3352800"/>
              <a:gd name="connsiteY3" fmla="*/ 2002901 h 2002901"/>
              <a:gd name="connsiteX4" fmla="*/ 0 w 3352800"/>
              <a:gd name="connsiteY4" fmla="*/ 2002901 h 20029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52800" h="2002901">
                <a:moveTo>
                  <a:pt x="0" y="2002901"/>
                </a:moveTo>
                <a:lnTo>
                  <a:pt x="2836585" y="0"/>
                </a:lnTo>
                <a:lnTo>
                  <a:pt x="3352800" y="270"/>
                </a:lnTo>
                <a:lnTo>
                  <a:pt x="3352800" y="2002901"/>
                </a:lnTo>
                <a:lnTo>
                  <a:pt x="0" y="2002901"/>
                </a:lnTo>
                <a:close/>
              </a:path>
            </a:pathLst>
          </a:custGeom>
          <a:solidFill>
            <a:schemeClr val="accent3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 rot="19140000">
            <a:off x="817112" y="1730403"/>
            <a:ext cx="5648623" cy="1204306"/>
          </a:xfrm>
        </p:spPr>
        <p:txBody>
          <a:bodyPr bIns="9144"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 rot="19140000">
            <a:off x="1212277" y="2470925"/>
            <a:ext cx="6511131" cy="329259"/>
          </a:xfrm>
        </p:spPr>
        <p:txBody>
          <a:bodyPr tIns="9144">
            <a:normAutofit/>
          </a:bodyPr>
          <a:lstStyle>
            <a:lvl1pPr marL="0" indent="0" algn="l">
              <a:buNone/>
              <a:defRPr kumimoji="0" lang="en-US" sz="1400" b="0" i="0" u="none" strike="noStrike" kern="1200" cap="all" spc="40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j-ea"/>
                <a:cs typeface="Tunga" pitchFamily="2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itchFamily="34" charset="0"/>
              <a:buNone/>
              <a:tabLst/>
              <a:defRPr/>
            </a:pPr>
            <a:r>
              <a:rPr lang="fr-FR"/>
              <a:t>Modifiez le style des sous-titres du masqu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66D98-0476-4199-8E0E-2BAD5FB94140}" type="datetimeFigureOut">
              <a:rPr lang="el-GR" smtClean="0"/>
              <a:t>27/1/2021</a:t>
            </a:fld>
            <a:endParaRPr lang="el-G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94A1A0-6A53-44DD-A84D-01F3A07D2C36}" type="slidenum">
              <a:rPr lang="el-GR" smtClean="0"/>
              <a:t>‹#›</a:t>
            </a:fld>
            <a:endParaRPr lang="el-GR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66D98-0476-4199-8E0E-2BAD5FB94140}" type="datetimeFigureOut">
              <a:rPr lang="el-GR" smtClean="0"/>
              <a:t>27/1/2021</a:t>
            </a:fld>
            <a:endParaRPr lang="el-G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94A1A0-6A53-44DD-A84D-01F3A07D2C36}" type="slidenum">
              <a:rPr lang="el-GR" smtClean="0"/>
              <a:t>‹#›</a:t>
            </a:fld>
            <a:endParaRPr lang="el-GR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4678362"/>
          </a:xfrm>
        </p:spPr>
        <p:txBody>
          <a:bodyPr vert="eaVert"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4678362"/>
          </a:xfrm>
        </p:spPr>
        <p:txBody>
          <a:bodyPr vert="eaVert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66D98-0476-4199-8E0E-2BAD5FB94140}" type="datetimeFigureOut">
              <a:rPr lang="el-GR" smtClean="0"/>
              <a:t>27/1/2021</a:t>
            </a:fld>
            <a:endParaRPr lang="el-G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94A1A0-6A53-44DD-A84D-01F3A07D2C36}" type="slidenum">
              <a:rPr lang="el-GR" smtClean="0"/>
              <a:t>‹#›</a:t>
            </a:fld>
            <a:endParaRPr lang="el-GR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66D98-0476-4199-8E0E-2BAD5FB94140}" type="datetimeFigureOut">
              <a:rPr lang="el-GR" smtClean="0"/>
              <a:t>27/1/2021</a:t>
            </a:fld>
            <a:endParaRPr lang="el-G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94A1A0-6A53-44DD-A84D-01F3A07D2C36}" type="slidenum">
              <a:rPr lang="el-GR" smtClean="0"/>
              <a:t>‹#›</a:t>
            </a:fld>
            <a:endParaRPr lang="el-GR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/>
        </p:nvSpPr>
        <p:spPr>
          <a:xfrm>
            <a:off x="-2380" y="-925"/>
            <a:ext cx="9146380" cy="6858925"/>
          </a:xfrm>
          <a:custGeom>
            <a:avLst/>
            <a:gdLst>
              <a:gd name="connsiteX0" fmla="*/ 0 w 3350419"/>
              <a:gd name="connsiteY0" fmla="*/ 2081213 h 2083594"/>
              <a:gd name="connsiteX1" fmla="*/ 3031331 w 3350419"/>
              <a:gd name="connsiteY1" fmla="*/ 0 h 2083594"/>
              <a:gd name="connsiteX2" fmla="*/ 3350419 w 3350419"/>
              <a:gd name="connsiteY2" fmla="*/ 80963 h 2083594"/>
              <a:gd name="connsiteX3" fmla="*/ 3350419 w 3350419"/>
              <a:gd name="connsiteY3" fmla="*/ 2083594 h 2083594"/>
              <a:gd name="connsiteX4" fmla="*/ 0 w 3350419"/>
              <a:gd name="connsiteY4" fmla="*/ 2081213 h 2083594"/>
              <a:gd name="connsiteX0" fmla="*/ 0 w 3112294"/>
              <a:gd name="connsiteY0" fmla="*/ 2019301 h 2083594"/>
              <a:gd name="connsiteX1" fmla="*/ 2793206 w 3112294"/>
              <a:gd name="connsiteY1" fmla="*/ 0 h 2083594"/>
              <a:gd name="connsiteX2" fmla="*/ 3112294 w 3112294"/>
              <a:gd name="connsiteY2" fmla="*/ 80963 h 2083594"/>
              <a:gd name="connsiteX3" fmla="*/ 3112294 w 3112294"/>
              <a:gd name="connsiteY3" fmla="*/ 2083594 h 2083594"/>
              <a:gd name="connsiteX4" fmla="*/ 0 w 3112294"/>
              <a:gd name="connsiteY4" fmla="*/ 2019301 h 2083594"/>
              <a:gd name="connsiteX0" fmla="*/ 0 w 3345656"/>
              <a:gd name="connsiteY0" fmla="*/ 2097882 h 2097882"/>
              <a:gd name="connsiteX1" fmla="*/ 3026568 w 3345656"/>
              <a:gd name="connsiteY1" fmla="*/ 0 h 2097882"/>
              <a:gd name="connsiteX2" fmla="*/ 3345656 w 3345656"/>
              <a:gd name="connsiteY2" fmla="*/ 80963 h 2097882"/>
              <a:gd name="connsiteX3" fmla="*/ 3345656 w 3345656"/>
              <a:gd name="connsiteY3" fmla="*/ 2083594 h 2097882"/>
              <a:gd name="connsiteX4" fmla="*/ 0 w 3345656"/>
              <a:gd name="connsiteY4" fmla="*/ 2097882 h 2097882"/>
              <a:gd name="connsiteX0" fmla="*/ 0 w 2800350"/>
              <a:gd name="connsiteY0" fmla="*/ 1935957 h 2083594"/>
              <a:gd name="connsiteX1" fmla="*/ 2481262 w 2800350"/>
              <a:gd name="connsiteY1" fmla="*/ 0 h 2083594"/>
              <a:gd name="connsiteX2" fmla="*/ 2800350 w 2800350"/>
              <a:gd name="connsiteY2" fmla="*/ 80963 h 2083594"/>
              <a:gd name="connsiteX3" fmla="*/ 2800350 w 2800350"/>
              <a:gd name="connsiteY3" fmla="*/ 2083594 h 2083594"/>
              <a:gd name="connsiteX4" fmla="*/ 0 w 2800350"/>
              <a:gd name="connsiteY4" fmla="*/ 1935957 h 2083594"/>
              <a:gd name="connsiteX0" fmla="*/ 0 w 3352800"/>
              <a:gd name="connsiteY0" fmla="*/ 2083594 h 2083594"/>
              <a:gd name="connsiteX1" fmla="*/ 3033712 w 3352800"/>
              <a:gd name="connsiteY1" fmla="*/ 0 h 2083594"/>
              <a:gd name="connsiteX2" fmla="*/ 3352800 w 3352800"/>
              <a:gd name="connsiteY2" fmla="*/ 80963 h 2083594"/>
              <a:gd name="connsiteX3" fmla="*/ 3352800 w 3352800"/>
              <a:gd name="connsiteY3" fmla="*/ 2083594 h 2083594"/>
              <a:gd name="connsiteX4" fmla="*/ 0 w 3352800"/>
              <a:gd name="connsiteY4" fmla="*/ 2083594 h 2083594"/>
              <a:gd name="connsiteX0" fmla="*/ 0 w 3352800"/>
              <a:gd name="connsiteY0" fmla="*/ 2002631 h 2002631"/>
              <a:gd name="connsiteX1" fmla="*/ 3033712 w 3352800"/>
              <a:gd name="connsiteY1" fmla="*/ 157162 h 2002631"/>
              <a:gd name="connsiteX2" fmla="*/ 3352800 w 3352800"/>
              <a:gd name="connsiteY2" fmla="*/ 0 h 2002631"/>
              <a:gd name="connsiteX3" fmla="*/ 3352800 w 3352800"/>
              <a:gd name="connsiteY3" fmla="*/ 2002631 h 2002631"/>
              <a:gd name="connsiteX4" fmla="*/ 0 w 3352800"/>
              <a:gd name="connsiteY4" fmla="*/ 2002631 h 2002631"/>
              <a:gd name="connsiteX0" fmla="*/ 0 w 3352800"/>
              <a:gd name="connsiteY0" fmla="*/ 2002631 h 2002631"/>
              <a:gd name="connsiteX1" fmla="*/ 2988469 w 3352800"/>
              <a:gd name="connsiteY1" fmla="*/ 59530 h 2002631"/>
              <a:gd name="connsiteX2" fmla="*/ 3352800 w 3352800"/>
              <a:gd name="connsiteY2" fmla="*/ 0 h 2002631"/>
              <a:gd name="connsiteX3" fmla="*/ 3352800 w 3352800"/>
              <a:gd name="connsiteY3" fmla="*/ 2002631 h 2002631"/>
              <a:gd name="connsiteX4" fmla="*/ 0 w 3352800"/>
              <a:gd name="connsiteY4" fmla="*/ 2002631 h 2002631"/>
              <a:gd name="connsiteX0" fmla="*/ 0 w 3352800"/>
              <a:gd name="connsiteY0" fmla="*/ 2002631 h 2002631"/>
              <a:gd name="connsiteX1" fmla="*/ 2833966 w 3352800"/>
              <a:gd name="connsiteY1" fmla="*/ 425 h 2002631"/>
              <a:gd name="connsiteX2" fmla="*/ 3352800 w 3352800"/>
              <a:gd name="connsiteY2" fmla="*/ 0 h 2002631"/>
              <a:gd name="connsiteX3" fmla="*/ 3352800 w 3352800"/>
              <a:gd name="connsiteY3" fmla="*/ 2002631 h 2002631"/>
              <a:gd name="connsiteX4" fmla="*/ 0 w 3352800"/>
              <a:gd name="connsiteY4" fmla="*/ 2002631 h 2002631"/>
              <a:gd name="connsiteX0" fmla="*/ 0 w 3352800"/>
              <a:gd name="connsiteY0" fmla="*/ 2002631 h 2002631"/>
              <a:gd name="connsiteX1" fmla="*/ 2845314 w 3352800"/>
              <a:gd name="connsiteY1" fmla="*/ 12246 h 2002631"/>
              <a:gd name="connsiteX2" fmla="*/ 3352800 w 3352800"/>
              <a:gd name="connsiteY2" fmla="*/ 0 h 2002631"/>
              <a:gd name="connsiteX3" fmla="*/ 3352800 w 3352800"/>
              <a:gd name="connsiteY3" fmla="*/ 2002631 h 2002631"/>
              <a:gd name="connsiteX4" fmla="*/ 0 w 3352800"/>
              <a:gd name="connsiteY4" fmla="*/ 2002631 h 2002631"/>
              <a:gd name="connsiteX0" fmla="*/ 0 w 3352800"/>
              <a:gd name="connsiteY0" fmla="*/ 2002631 h 2002631"/>
              <a:gd name="connsiteX1" fmla="*/ 2834839 w 3352800"/>
              <a:gd name="connsiteY1" fmla="*/ 425 h 2002631"/>
              <a:gd name="connsiteX2" fmla="*/ 3352800 w 3352800"/>
              <a:gd name="connsiteY2" fmla="*/ 0 h 2002631"/>
              <a:gd name="connsiteX3" fmla="*/ 3352800 w 3352800"/>
              <a:gd name="connsiteY3" fmla="*/ 2002631 h 2002631"/>
              <a:gd name="connsiteX4" fmla="*/ 0 w 3352800"/>
              <a:gd name="connsiteY4" fmla="*/ 2002631 h 2002631"/>
              <a:gd name="connsiteX0" fmla="*/ 0 w 3352800"/>
              <a:gd name="connsiteY0" fmla="*/ 2002631 h 2002631"/>
              <a:gd name="connsiteX1" fmla="*/ 2875865 w 3352800"/>
              <a:gd name="connsiteY1" fmla="*/ 81782 h 2002631"/>
              <a:gd name="connsiteX2" fmla="*/ 3352800 w 3352800"/>
              <a:gd name="connsiteY2" fmla="*/ 0 h 2002631"/>
              <a:gd name="connsiteX3" fmla="*/ 3352800 w 3352800"/>
              <a:gd name="connsiteY3" fmla="*/ 2002631 h 2002631"/>
              <a:gd name="connsiteX4" fmla="*/ 0 w 3352800"/>
              <a:gd name="connsiteY4" fmla="*/ 2002631 h 2002631"/>
              <a:gd name="connsiteX0" fmla="*/ 0 w 3352800"/>
              <a:gd name="connsiteY0" fmla="*/ 2002901 h 2002901"/>
              <a:gd name="connsiteX1" fmla="*/ 2836585 w 3352800"/>
              <a:gd name="connsiteY1" fmla="*/ 0 h 2002901"/>
              <a:gd name="connsiteX2" fmla="*/ 3352800 w 3352800"/>
              <a:gd name="connsiteY2" fmla="*/ 270 h 2002901"/>
              <a:gd name="connsiteX3" fmla="*/ 3352800 w 3352800"/>
              <a:gd name="connsiteY3" fmla="*/ 2002901 h 2002901"/>
              <a:gd name="connsiteX4" fmla="*/ 0 w 3352800"/>
              <a:gd name="connsiteY4" fmla="*/ 2002901 h 20029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52800" h="2002901">
                <a:moveTo>
                  <a:pt x="0" y="2002901"/>
                </a:moveTo>
                <a:lnTo>
                  <a:pt x="2836585" y="0"/>
                </a:lnTo>
                <a:lnTo>
                  <a:pt x="3352800" y="270"/>
                </a:lnTo>
                <a:lnTo>
                  <a:pt x="3352800" y="2002901"/>
                </a:lnTo>
                <a:lnTo>
                  <a:pt x="0" y="200290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ight Triangle 6"/>
          <p:cNvSpPr/>
          <p:nvPr/>
        </p:nvSpPr>
        <p:spPr>
          <a:xfrm>
            <a:off x="0" y="2647950"/>
            <a:ext cx="3571875" cy="4210050"/>
          </a:xfrm>
          <a:prstGeom prst="rtTriangle">
            <a:avLst/>
          </a:prstGeom>
          <a:solidFill>
            <a:schemeClr val="accent3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 rot="19140000">
            <a:off x="819399" y="1726737"/>
            <a:ext cx="5650992" cy="1207509"/>
          </a:xfrm>
        </p:spPr>
        <p:txBody>
          <a:bodyPr bIns="9144" anchor="b"/>
          <a:lstStyle>
            <a:lvl1pPr algn="l">
              <a:defRPr kumimoji="0" lang="en-US" sz="3200" b="0" i="0" u="none" strike="noStrike" kern="1200" cap="all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 rot="19140000">
            <a:off x="1216152" y="2468304"/>
            <a:ext cx="6510528" cy="329184"/>
          </a:xfrm>
        </p:spPr>
        <p:txBody>
          <a:bodyPr anchor="t">
            <a:normAutofit/>
          </a:bodyPr>
          <a:lstStyle>
            <a:lvl1pPr marL="0" indent="0">
              <a:buNone/>
              <a:defRPr kumimoji="0" lang="en-US" sz="1400" b="0" i="0" u="none" strike="noStrike" kern="1200" cap="all" spc="40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j-ea"/>
                <a:cs typeface="Tunga" pitchFamily="2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itchFamily="34" charset="0"/>
              <a:buNone/>
              <a:tabLst/>
              <a:defRPr/>
            </a:pPr>
            <a:r>
              <a:rPr lang="fr-FR"/>
              <a:t>Modifiez les styles du texte du masqu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66D98-0476-4199-8E0E-2BAD5FB94140}" type="datetimeFigureOut">
              <a:rPr lang="el-GR" smtClean="0"/>
              <a:t>27/1/2021</a:t>
            </a:fld>
            <a:endParaRPr lang="el-G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94A1A0-6A53-44DD-A84D-01F3A07D2C36}" type="slidenum">
              <a:rPr lang="el-GR" smtClean="0"/>
              <a:t>‹#›</a:t>
            </a:fld>
            <a:endParaRPr lang="el-GR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22960" y="1097280"/>
            <a:ext cx="3200400" cy="3712464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00016" y="1097280"/>
            <a:ext cx="3200400" cy="3712464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66D98-0476-4199-8E0E-2BAD5FB94140}" type="datetimeFigureOut">
              <a:rPr lang="el-GR" smtClean="0"/>
              <a:t>27/1/2021</a:t>
            </a:fld>
            <a:endParaRPr lang="el-G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94A1A0-6A53-44DD-A84D-01F3A07D2C36}" type="slidenum">
              <a:rPr lang="el-GR" smtClean="0"/>
              <a:t>‹#›</a:t>
            </a:fld>
            <a:endParaRPr lang="el-GR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22960" y="1097280"/>
            <a:ext cx="3200400" cy="548640"/>
          </a:xfrm>
        </p:spPr>
        <p:txBody>
          <a:bodyPr anchor="b">
            <a:normAutofit/>
          </a:bodyPr>
          <a:lstStyle>
            <a:lvl1pPr marL="0" indent="0">
              <a:buNone/>
              <a:defRPr lang="en-US" sz="1400" b="0" kern="1200" cap="all" spc="400" baseline="0" dirty="0" smtClean="0">
                <a:solidFill>
                  <a:schemeClr val="tx1"/>
                </a:solidFill>
                <a:latin typeface="+mn-lt"/>
                <a:ea typeface="+mj-ea"/>
                <a:cs typeface="Tunga" pitchFamily="2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None/>
            </a:pPr>
            <a:r>
              <a:rPr lang="fr-FR"/>
              <a:t>Modifiez les styles du texte du masqu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19150" y="1701848"/>
            <a:ext cx="3200400" cy="310896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00016" y="1097280"/>
            <a:ext cx="3200400" cy="548640"/>
          </a:xfrm>
        </p:spPr>
        <p:txBody>
          <a:bodyPr anchor="b">
            <a:normAutofit/>
          </a:bodyPr>
          <a:lstStyle>
            <a:lvl1pPr marL="0" indent="0">
              <a:buNone/>
              <a:defRPr lang="en-US" sz="1400" b="0" kern="1200" cap="all" spc="400" baseline="0" dirty="0" smtClean="0">
                <a:solidFill>
                  <a:schemeClr val="tx1"/>
                </a:solidFill>
                <a:latin typeface="+mn-lt"/>
                <a:ea typeface="+mj-ea"/>
                <a:cs typeface="Tunga" pitchFamily="2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Font typeface="Arial" pitchFamily="34" charset="0"/>
              <a:buNone/>
            </a:pPr>
            <a:r>
              <a:rPr lang="fr-FR"/>
              <a:t>Modifiez les styles du texte du masqu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00016" y="1701848"/>
            <a:ext cx="3200400" cy="310896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66D98-0476-4199-8E0E-2BAD5FB94140}" type="datetimeFigureOut">
              <a:rPr lang="el-GR" smtClean="0"/>
              <a:t>27/1/2021</a:t>
            </a:fld>
            <a:endParaRPr lang="el-GR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94A1A0-6A53-44DD-A84D-01F3A07D2C36}" type="slidenum">
              <a:rPr lang="el-GR" smtClean="0"/>
              <a:t>‹#›</a:t>
            </a:fld>
            <a:endParaRPr lang="el-GR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66D98-0476-4199-8E0E-2BAD5FB94140}" type="datetimeFigureOut">
              <a:rPr lang="el-GR" smtClean="0"/>
              <a:t>27/1/2021</a:t>
            </a:fld>
            <a:endParaRPr lang="el-G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94A1A0-6A53-44DD-A84D-01F3A07D2C36}" type="slidenum">
              <a:rPr lang="el-GR" smtClean="0"/>
              <a:t>‹#›</a:t>
            </a:fld>
            <a:endParaRPr lang="el-GR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66D98-0476-4199-8E0E-2BAD5FB94140}" type="datetimeFigureOut">
              <a:rPr lang="el-GR" smtClean="0"/>
              <a:t>27/1/2021</a:t>
            </a:fld>
            <a:endParaRPr lang="el-G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94A1A0-6A53-44DD-A84D-01F3A07D2C36}" type="slidenum">
              <a:rPr lang="el-GR" smtClean="0"/>
              <a:t>‹#›</a:t>
            </a:fld>
            <a:endParaRPr lang="el-GR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ight Triangle 16"/>
          <p:cNvSpPr/>
          <p:nvPr/>
        </p:nvSpPr>
        <p:spPr>
          <a:xfrm>
            <a:off x="0" y="2647950"/>
            <a:ext cx="3571875" cy="4210050"/>
          </a:xfrm>
          <a:prstGeom prst="rt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ight Triangle 17"/>
          <p:cNvSpPr/>
          <p:nvPr/>
        </p:nvSpPr>
        <p:spPr>
          <a:xfrm rot="5400000">
            <a:off x="433389" y="-433387"/>
            <a:ext cx="6858000" cy="7724778"/>
          </a:xfrm>
          <a:prstGeom prst="rtTriangle">
            <a:avLst/>
          </a:prstGeom>
          <a:solidFill>
            <a:schemeClr val="accent3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US" sz="1800" kern="12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 rot="19140000">
            <a:off x="784930" y="1576103"/>
            <a:ext cx="5212080" cy="1089427"/>
          </a:xfrm>
        </p:spPr>
        <p:txBody>
          <a:bodyPr bIns="0" anchor="b"/>
          <a:lstStyle>
            <a:lvl1pPr algn="l">
              <a:defRPr kumimoji="0" lang="en-US" sz="2800" b="0" i="0" u="none" strike="noStrike" kern="1200" cap="all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49552" y="2618912"/>
            <a:ext cx="3807779" cy="332468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 rot="19140000">
            <a:off x="1297954" y="2253385"/>
            <a:ext cx="5794760" cy="623314"/>
          </a:xfrm>
        </p:spPr>
        <p:txBody>
          <a:bodyPr>
            <a:normAutofit/>
          </a:bodyPr>
          <a:lstStyle>
            <a:lvl1pPr marL="0" indent="0">
              <a:buNone/>
              <a:defRPr lang="en-US" sz="1400" b="1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Arial" pitchFamily="34" charset="0"/>
              <a:buNone/>
              <a:tabLst/>
              <a:defRPr/>
            </a:pPr>
            <a:r>
              <a:rPr lang="fr-FR"/>
              <a:t>Modifiez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66D98-0476-4199-8E0E-2BAD5FB94140}" type="datetimeFigureOut">
              <a:rPr lang="el-GR" smtClean="0"/>
              <a:t>27/1/2021</a:t>
            </a:fld>
            <a:endParaRPr lang="el-G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l-G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ln>
            <a:solidFill>
              <a:schemeClr val="tx2"/>
            </a:solidFill>
          </a:ln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1A94A1A0-6A53-44DD-A84D-01F3A07D2C36}" type="slidenum">
              <a:rPr lang="el-GR" smtClean="0"/>
              <a:t>‹#›</a:t>
            </a:fld>
            <a:endParaRPr lang="el-GR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4"/>
          </p:nvPr>
        </p:nvSpPr>
        <p:spPr>
          <a:xfrm>
            <a:off x="2028825" y="0"/>
            <a:ext cx="7115175" cy="6858000"/>
          </a:xfrm>
          <a:custGeom>
            <a:avLst/>
            <a:gdLst>
              <a:gd name="connsiteX0" fmla="*/ 0 w 7104888"/>
              <a:gd name="connsiteY0" fmla="*/ 0 h 6858000"/>
              <a:gd name="connsiteX1" fmla="*/ 7104888 w 7104888"/>
              <a:gd name="connsiteY1" fmla="*/ 0 h 6858000"/>
              <a:gd name="connsiteX2" fmla="*/ 7104888 w 7104888"/>
              <a:gd name="connsiteY2" fmla="*/ 6858000 h 6858000"/>
              <a:gd name="connsiteX3" fmla="*/ 0 w 7104888"/>
              <a:gd name="connsiteY3" fmla="*/ 6858000 h 6858000"/>
              <a:gd name="connsiteX4" fmla="*/ 0 w 7104888"/>
              <a:gd name="connsiteY4" fmla="*/ 0 h 6858000"/>
              <a:gd name="connsiteX0" fmla="*/ 0 w 7104888"/>
              <a:gd name="connsiteY0" fmla="*/ 0 h 6858000"/>
              <a:gd name="connsiteX1" fmla="*/ 5695188 w 7104888"/>
              <a:gd name="connsiteY1" fmla="*/ 0 h 6858000"/>
              <a:gd name="connsiteX2" fmla="*/ 7104888 w 7104888"/>
              <a:gd name="connsiteY2" fmla="*/ 0 h 6858000"/>
              <a:gd name="connsiteX3" fmla="*/ 7104888 w 7104888"/>
              <a:gd name="connsiteY3" fmla="*/ 6858000 h 6858000"/>
              <a:gd name="connsiteX4" fmla="*/ 0 w 7104888"/>
              <a:gd name="connsiteY4" fmla="*/ 6858000 h 6858000"/>
              <a:gd name="connsiteX5" fmla="*/ 0 w 7104888"/>
              <a:gd name="connsiteY5" fmla="*/ 0 h 6858000"/>
              <a:gd name="connsiteX0" fmla="*/ 10287 w 7115175"/>
              <a:gd name="connsiteY0" fmla="*/ 0 h 6858000"/>
              <a:gd name="connsiteX1" fmla="*/ 5705475 w 7115175"/>
              <a:gd name="connsiteY1" fmla="*/ 0 h 6858000"/>
              <a:gd name="connsiteX2" fmla="*/ 7115175 w 7115175"/>
              <a:gd name="connsiteY2" fmla="*/ 0 h 6858000"/>
              <a:gd name="connsiteX3" fmla="*/ 7115175 w 7115175"/>
              <a:gd name="connsiteY3" fmla="*/ 6858000 h 6858000"/>
              <a:gd name="connsiteX4" fmla="*/ 10287 w 7115175"/>
              <a:gd name="connsiteY4" fmla="*/ 6858000 h 6858000"/>
              <a:gd name="connsiteX5" fmla="*/ 0 w 7115175"/>
              <a:gd name="connsiteY5" fmla="*/ 5048250 h 6858000"/>
              <a:gd name="connsiteX6" fmla="*/ 10287 w 7115175"/>
              <a:gd name="connsiteY6" fmla="*/ 0 h 6858000"/>
              <a:gd name="connsiteX0" fmla="*/ 10287 w 7115175"/>
              <a:gd name="connsiteY0" fmla="*/ 0 h 6858000"/>
              <a:gd name="connsiteX1" fmla="*/ 5705475 w 7115175"/>
              <a:gd name="connsiteY1" fmla="*/ 0 h 6858000"/>
              <a:gd name="connsiteX2" fmla="*/ 7115175 w 7115175"/>
              <a:gd name="connsiteY2" fmla="*/ 0 h 6858000"/>
              <a:gd name="connsiteX3" fmla="*/ 7115175 w 7115175"/>
              <a:gd name="connsiteY3" fmla="*/ 6858000 h 6858000"/>
              <a:gd name="connsiteX4" fmla="*/ 1533526 w 7115175"/>
              <a:gd name="connsiteY4" fmla="*/ 6848475 h 6858000"/>
              <a:gd name="connsiteX5" fmla="*/ 10287 w 7115175"/>
              <a:gd name="connsiteY5" fmla="*/ 6858000 h 6858000"/>
              <a:gd name="connsiteX6" fmla="*/ 0 w 7115175"/>
              <a:gd name="connsiteY6" fmla="*/ 5048250 h 6858000"/>
              <a:gd name="connsiteX7" fmla="*/ 10287 w 7115175"/>
              <a:gd name="connsiteY7" fmla="*/ 0 h 6858000"/>
              <a:gd name="connsiteX0" fmla="*/ 10287 w 7115175"/>
              <a:gd name="connsiteY0" fmla="*/ 0 h 6858000"/>
              <a:gd name="connsiteX1" fmla="*/ 5705475 w 7115175"/>
              <a:gd name="connsiteY1" fmla="*/ 0 h 6858000"/>
              <a:gd name="connsiteX2" fmla="*/ 7115175 w 7115175"/>
              <a:gd name="connsiteY2" fmla="*/ 0 h 6858000"/>
              <a:gd name="connsiteX3" fmla="*/ 7115175 w 7115175"/>
              <a:gd name="connsiteY3" fmla="*/ 6858000 h 6858000"/>
              <a:gd name="connsiteX4" fmla="*/ 1533526 w 7115175"/>
              <a:gd name="connsiteY4" fmla="*/ 6848475 h 6858000"/>
              <a:gd name="connsiteX5" fmla="*/ 0 w 7115175"/>
              <a:gd name="connsiteY5" fmla="*/ 5048250 h 6858000"/>
              <a:gd name="connsiteX6" fmla="*/ 10287 w 7115175"/>
              <a:gd name="connsiteY6" fmla="*/ 0 h 6858000"/>
              <a:gd name="connsiteX0" fmla="*/ 0 w 7115175"/>
              <a:gd name="connsiteY0" fmla="*/ 5048250 h 6858000"/>
              <a:gd name="connsiteX1" fmla="*/ 5705475 w 7115175"/>
              <a:gd name="connsiteY1" fmla="*/ 0 h 6858000"/>
              <a:gd name="connsiteX2" fmla="*/ 7115175 w 7115175"/>
              <a:gd name="connsiteY2" fmla="*/ 0 h 6858000"/>
              <a:gd name="connsiteX3" fmla="*/ 7115175 w 7115175"/>
              <a:gd name="connsiteY3" fmla="*/ 6858000 h 6858000"/>
              <a:gd name="connsiteX4" fmla="*/ 1533526 w 7115175"/>
              <a:gd name="connsiteY4" fmla="*/ 6848475 h 6858000"/>
              <a:gd name="connsiteX5" fmla="*/ 0 w 7115175"/>
              <a:gd name="connsiteY5" fmla="*/ 504825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115175" h="6858000">
                <a:moveTo>
                  <a:pt x="0" y="5048250"/>
                </a:moveTo>
                <a:lnTo>
                  <a:pt x="5705475" y="0"/>
                </a:lnTo>
                <a:lnTo>
                  <a:pt x="7115175" y="0"/>
                </a:lnTo>
                <a:lnTo>
                  <a:pt x="7115175" y="6858000"/>
                </a:lnTo>
                <a:lnTo>
                  <a:pt x="1533526" y="6848475"/>
                </a:lnTo>
                <a:lnTo>
                  <a:pt x="0" y="5048250"/>
                </a:lnTo>
                <a:close/>
              </a:path>
            </a:pathLst>
          </a:custGeom>
          <a:solidFill>
            <a:schemeClr val="accent3">
              <a:alpha val="80000"/>
            </a:schemeClr>
          </a:solidFill>
        </p:spPr>
        <p:txBody>
          <a:bodyPr rIns="182880" anchor="ctr"/>
          <a:lstStyle>
            <a:lvl1pPr algn="r">
              <a:defRPr/>
            </a:lvl1pPr>
          </a:lstStyle>
          <a:p>
            <a:r>
              <a:rPr lang="fr-FR"/>
              <a:t>Cliquez sur l'icône pour ajouter une image</a:t>
            </a:r>
            <a:endParaRPr lang="en-US" dirty="0"/>
          </a:p>
        </p:txBody>
      </p:sp>
      <p:sp>
        <p:nvSpPr>
          <p:cNvPr id="9" name="Right Triangle 8"/>
          <p:cNvSpPr/>
          <p:nvPr/>
        </p:nvSpPr>
        <p:spPr>
          <a:xfrm>
            <a:off x="0" y="2647950"/>
            <a:ext cx="3571875" cy="4210050"/>
          </a:xfrm>
          <a:prstGeom prst="rt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 9"/>
          <p:cNvSpPr/>
          <p:nvPr/>
        </p:nvSpPr>
        <p:spPr>
          <a:xfrm>
            <a:off x="0" y="5048250"/>
            <a:ext cx="3571875" cy="1809750"/>
          </a:xfrm>
          <a:custGeom>
            <a:avLst/>
            <a:gdLst>
              <a:gd name="connsiteX0" fmla="*/ 0 w 3571875"/>
              <a:gd name="connsiteY0" fmla="*/ 4210050 h 4210050"/>
              <a:gd name="connsiteX1" fmla="*/ 0 w 3571875"/>
              <a:gd name="connsiteY1" fmla="*/ 0 h 4210050"/>
              <a:gd name="connsiteX2" fmla="*/ 3571875 w 3571875"/>
              <a:gd name="connsiteY2" fmla="*/ 4210050 h 4210050"/>
              <a:gd name="connsiteX3" fmla="*/ 0 w 3571875"/>
              <a:gd name="connsiteY3" fmla="*/ 4210050 h 4210050"/>
              <a:gd name="connsiteX0" fmla="*/ 0 w 3571875"/>
              <a:gd name="connsiteY0" fmla="*/ 1809750 h 1809750"/>
              <a:gd name="connsiteX1" fmla="*/ 1895475 w 3571875"/>
              <a:gd name="connsiteY1" fmla="*/ 0 h 1809750"/>
              <a:gd name="connsiteX2" fmla="*/ 3571875 w 3571875"/>
              <a:gd name="connsiteY2" fmla="*/ 1809750 h 1809750"/>
              <a:gd name="connsiteX3" fmla="*/ 0 w 3571875"/>
              <a:gd name="connsiteY3" fmla="*/ 1809750 h 1809750"/>
              <a:gd name="connsiteX0" fmla="*/ 0 w 3571875"/>
              <a:gd name="connsiteY0" fmla="*/ 1809750 h 1809750"/>
              <a:gd name="connsiteX1" fmla="*/ 2038350 w 3571875"/>
              <a:gd name="connsiteY1" fmla="*/ 0 h 1809750"/>
              <a:gd name="connsiteX2" fmla="*/ 3571875 w 3571875"/>
              <a:gd name="connsiteY2" fmla="*/ 1809750 h 1809750"/>
              <a:gd name="connsiteX3" fmla="*/ 0 w 3571875"/>
              <a:gd name="connsiteY3" fmla="*/ 1809750 h 18097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71875" h="1809750">
                <a:moveTo>
                  <a:pt x="0" y="1809750"/>
                </a:moveTo>
                <a:lnTo>
                  <a:pt x="2038350" y="0"/>
                </a:lnTo>
                <a:lnTo>
                  <a:pt x="3571875" y="1809750"/>
                </a:lnTo>
                <a:lnTo>
                  <a:pt x="0" y="1809750"/>
                </a:lnTo>
                <a:close/>
              </a:path>
            </a:pathLst>
          </a:custGeom>
          <a:solidFill>
            <a:schemeClr val="accent3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 rot="19140000">
            <a:off x="671197" y="1717501"/>
            <a:ext cx="5486400" cy="867444"/>
          </a:xfrm>
        </p:spPr>
        <p:txBody>
          <a:bodyPr anchor="b"/>
          <a:lstStyle>
            <a:lvl1pPr algn="l">
              <a:defRPr sz="2800" b="0">
                <a:latin typeface="+mj-lt"/>
              </a:defRPr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 rot="19140000">
            <a:off x="1143479" y="2180529"/>
            <a:ext cx="6096545" cy="740664"/>
          </a:xfrm>
        </p:spPr>
        <p:txBody>
          <a:bodyPr/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366D98-0476-4199-8E0E-2BAD5FB94140}" type="datetimeFigureOut">
              <a:rPr lang="el-GR" smtClean="0"/>
              <a:t>27/1/2021</a:t>
            </a:fld>
            <a:endParaRPr lang="el-G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l-G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94A1A0-6A53-44DD-A84D-01F3A07D2C36}" type="slidenum">
              <a:rPr lang="el-GR" smtClean="0"/>
              <a:t>‹#›</a:t>
            </a:fld>
            <a:endParaRPr lang="el-GR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/>
          <p:cNvSpPr/>
          <p:nvPr/>
        </p:nvSpPr>
        <p:spPr>
          <a:xfrm>
            <a:off x="-2382" y="5050633"/>
            <a:ext cx="3574257" cy="1807368"/>
          </a:xfrm>
          <a:custGeom>
            <a:avLst/>
            <a:gdLst>
              <a:gd name="connsiteX0" fmla="*/ 0 w 3571875"/>
              <a:gd name="connsiteY0" fmla="*/ 4210050 h 4210050"/>
              <a:gd name="connsiteX1" fmla="*/ 0 w 3571875"/>
              <a:gd name="connsiteY1" fmla="*/ 0 h 4210050"/>
              <a:gd name="connsiteX2" fmla="*/ 3571875 w 3571875"/>
              <a:gd name="connsiteY2" fmla="*/ 4210050 h 4210050"/>
              <a:gd name="connsiteX3" fmla="*/ 0 w 3571875"/>
              <a:gd name="connsiteY3" fmla="*/ 4210050 h 4210050"/>
              <a:gd name="connsiteX0" fmla="*/ 0 w 3571875"/>
              <a:gd name="connsiteY0" fmla="*/ 4210050 h 4210050"/>
              <a:gd name="connsiteX1" fmla="*/ 0 w 3571875"/>
              <a:gd name="connsiteY1" fmla="*/ 0 h 4210050"/>
              <a:gd name="connsiteX2" fmla="*/ 2028825 w 3571875"/>
              <a:gd name="connsiteY2" fmla="*/ 2388394 h 4210050"/>
              <a:gd name="connsiteX3" fmla="*/ 3571875 w 3571875"/>
              <a:gd name="connsiteY3" fmla="*/ 4210050 h 4210050"/>
              <a:gd name="connsiteX4" fmla="*/ 0 w 3571875"/>
              <a:gd name="connsiteY4" fmla="*/ 4210050 h 4210050"/>
              <a:gd name="connsiteX0" fmla="*/ 0 w 3571875"/>
              <a:gd name="connsiteY0" fmla="*/ 4210050 h 4210050"/>
              <a:gd name="connsiteX1" fmla="*/ 0 w 3571875"/>
              <a:gd name="connsiteY1" fmla="*/ 0 h 4210050"/>
              <a:gd name="connsiteX2" fmla="*/ 2028825 w 3571875"/>
              <a:gd name="connsiteY2" fmla="*/ 2205038 h 4210050"/>
              <a:gd name="connsiteX3" fmla="*/ 3571875 w 3571875"/>
              <a:gd name="connsiteY3" fmla="*/ 4210050 h 4210050"/>
              <a:gd name="connsiteX4" fmla="*/ 0 w 3571875"/>
              <a:gd name="connsiteY4" fmla="*/ 4210050 h 4210050"/>
              <a:gd name="connsiteX0" fmla="*/ 0 w 3571875"/>
              <a:gd name="connsiteY0" fmla="*/ 4210050 h 4210050"/>
              <a:gd name="connsiteX1" fmla="*/ 0 w 3571875"/>
              <a:gd name="connsiteY1" fmla="*/ 0 h 4210050"/>
              <a:gd name="connsiteX2" fmla="*/ 2028825 w 3571875"/>
              <a:gd name="connsiteY2" fmla="*/ 2393157 h 4210050"/>
              <a:gd name="connsiteX3" fmla="*/ 3571875 w 3571875"/>
              <a:gd name="connsiteY3" fmla="*/ 4210050 h 4210050"/>
              <a:gd name="connsiteX4" fmla="*/ 0 w 3571875"/>
              <a:gd name="connsiteY4" fmla="*/ 4210050 h 4210050"/>
              <a:gd name="connsiteX0" fmla="*/ 0 w 3571875"/>
              <a:gd name="connsiteY0" fmla="*/ 4210050 h 4210050"/>
              <a:gd name="connsiteX1" fmla="*/ 0 w 3571875"/>
              <a:gd name="connsiteY1" fmla="*/ 0 h 4210050"/>
              <a:gd name="connsiteX2" fmla="*/ 2028825 w 3571875"/>
              <a:gd name="connsiteY2" fmla="*/ 2393157 h 4210050"/>
              <a:gd name="connsiteX3" fmla="*/ 3571875 w 3571875"/>
              <a:gd name="connsiteY3" fmla="*/ 4210050 h 4210050"/>
              <a:gd name="connsiteX4" fmla="*/ 0 w 3571875"/>
              <a:gd name="connsiteY4" fmla="*/ 4210050 h 4210050"/>
              <a:gd name="connsiteX0" fmla="*/ 0 w 3571875"/>
              <a:gd name="connsiteY0" fmla="*/ 4210050 h 4210050"/>
              <a:gd name="connsiteX1" fmla="*/ 0 w 3571875"/>
              <a:gd name="connsiteY1" fmla="*/ 0 h 4210050"/>
              <a:gd name="connsiteX2" fmla="*/ 2028825 w 3571875"/>
              <a:gd name="connsiteY2" fmla="*/ 2281238 h 4210050"/>
              <a:gd name="connsiteX3" fmla="*/ 3571875 w 3571875"/>
              <a:gd name="connsiteY3" fmla="*/ 4210050 h 4210050"/>
              <a:gd name="connsiteX4" fmla="*/ 0 w 3571875"/>
              <a:gd name="connsiteY4" fmla="*/ 4210050 h 4210050"/>
              <a:gd name="connsiteX0" fmla="*/ 0 w 3571875"/>
              <a:gd name="connsiteY0" fmla="*/ 4210050 h 4210050"/>
              <a:gd name="connsiteX1" fmla="*/ 0 w 3571875"/>
              <a:gd name="connsiteY1" fmla="*/ 0 h 4210050"/>
              <a:gd name="connsiteX2" fmla="*/ 2028825 w 3571875"/>
              <a:gd name="connsiteY2" fmla="*/ 2393157 h 4210050"/>
              <a:gd name="connsiteX3" fmla="*/ 3571875 w 3571875"/>
              <a:gd name="connsiteY3" fmla="*/ 4210050 h 4210050"/>
              <a:gd name="connsiteX4" fmla="*/ 0 w 3571875"/>
              <a:gd name="connsiteY4" fmla="*/ 4210050 h 4210050"/>
              <a:gd name="connsiteX0" fmla="*/ 0 w 3571875"/>
              <a:gd name="connsiteY0" fmla="*/ 4210050 h 4210050"/>
              <a:gd name="connsiteX1" fmla="*/ 0 w 3571875"/>
              <a:gd name="connsiteY1" fmla="*/ 0 h 4210050"/>
              <a:gd name="connsiteX2" fmla="*/ 2028825 w 3571875"/>
              <a:gd name="connsiteY2" fmla="*/ 2393157 h 4210050"/>
              <a:gd name="connsiteX3" fmla="*/ 3571875 w 3571875"/>
              <a:gd name="connsiteY3" fmla="*/ 4210050 h 4210050"/>
              <a:gd name="connsiteX4" fmla="*/ 0 w 3571875"/>
              <a:gd name="connsiteY4" fmla="*/ 4210050 h 4210050"/>
              <a:gd name="connsiteX0" fmla="*/ 0 w 3571875"/>
              <a:gd name="connsiteY0" fmla="*/ 4210050 h 4210050"/>
              <a:gd name="connsiteX1" fmla="*/ 0 w 3571875"/>
              <a:gd name="connsiteY1" fmla="*/ 0 h 4210050"/>
              <a:gd name="connsiteX2" fmla="*/ 2076450 w 3571875"/>
              <a:gd name="connsiteY2" fmla="*/ 2274094 h 4210050"/>
              <a:gd name="connsiteX3" fmla="*/ 3571875 w 3571875"/>
              <a:gd name="connsiteY3" fmla="*/ 4210050 h 4210050"/>
              <a:gd name="connsiteX4" fmla="*/ 0 w 3571875"/>
              <a:gd name="connsiteY4" fmla="*/ 4210050 h 4210050"/>
              <a:gd name="connsiteX0" fmla="*/ 0 w 3571875"/>
              <a:gd name="connsiteY0" fmla="*/ 4210050 h 4210050"/>
              <a:gd name="connsiteX1" fmla="*/ 0 w 3571875"/>
              <a:gd name="connsiteY1" fmla="*/ 0 h 4210050"/>
              <a:gd name="connsiteX2" fmla="*/ 2245519 w 3571875"/>
              <a:gd name="connsiteY2" fmla="*/ 2405063 h 4210050"/>
              <a:gd name="connsiteX3" fmla="*/ 3571875 w 3571875"/>
              <a:gd name="connsiteY3" fmla="*/ 4210050 h 4210050"/>
              <a:gd name="connsiteX4" fmla="*/ 0 w 3571875"/>
              <a:gd name="connsiteY4" fmla="*/ 4210050 h 4210050"/>
              <a:gd name="connsiteX0" fmla="*/ 0 w 3571875"/>
              <a:gd name="connsiteY0" fmla="*/ 4210050 h 4210050"/>
              <a:gd name="connsiteX1" fmla="*/ 0 w 3571875"/>
              <a:gd name="connsiteY1" fmla="*/ 0 h 4210050"/>
              <a:gd name="connsiteX2" fmla="*/ 2038350 w 3571875"/>
              <a:gd name="connsiteY2" fmla="*/ 2405063 h 4210050"/>
              <a:gd name="connsiteX3" fmla="*/ 3571875 w 3571875"/>
              <a:gd name="connsiteY3" fmla="*/ 4210050 h 4210050"/>
              <a:gd name="connsiteX4" fmla="*/ 0 w 3571875"/>
              <a:gd name="connsiteY4" fmla="*/ 4210050 h 4210050"/>
              <a:gd name="connsiteX0" fmla="*/ 0 w 3571875"/>
              <a:gd name="connsiteY0" fmla="*/ 2433637 h 2433637"/>
              <a:gd name="connsiteX1" fmla="*/ 257175 w 3571875"/>
              <a:gd name="connsiteY1" fmla="*/ 0 h 2433637"/>
              <a:gd name="connsiteX2" fmla="*/ 2038350 w 3571875"/>
              <a:gd name="connsiteY2" fmla="*/ 628650 h 2433637"/>
              <a:gd name="connsiteX3" fmla="*/ 3571875 w 3571875"/>
              <a:gd name="connsiteY3" fmla="*/ 2433637 h 2433637"/>
              <a:gd name="connsiteX4" fmla="*/ 0 w 3571875"/>
              <a:gd name="connsiteY4" fmla="*/ 2433637 h 2433637"/>
              <a:gd name="connsiteX0" fmla="*/ 2382 w 3574257"/>
              <a:gd name="connsiteY0" fmla="*/ 1807368 h 1807368"/>
              <a:gd name="connsiteX1" fmla="*/ 0 w 3574257"/>
              <a:gd name="connsiteY1" fmla="*/ 0 h 1807368"/>
              <a:gd name="connsiteX2" fmla="*/ 2040732 w 3574257"/>
              <a:gd name="connsiteY2" fmla="*/ 2381 h 1807368"/>
              <a:gd name="connsiteX3" fmla="*/ 3574257 w 3574257"/>
              <a:gd name="connsiteY3" fmla="*/ 1807368 h 1807368"/>
              <a:gd name="connsiteX4" fmla="*/ 2382 w 3574257"/>
              <a:gd name="connsiteY4" fmla="*/ 1807368 h 1807368"/>
              <a:gd name="connsiteX0" fmla="*/ 2382 w 3574257"/>
              <a:gd name="connsiteY0" fmla="*/ 1807368 h 1807368"/>
              <a:gd name="connsiteX1" fmla="*/ 0 w 3574257"/>
              <a:gd name="connsiteY1" fmla="*/ 0 h 1807368"/>
              <a:gd name="connsiteX2" fmla="*/ 1924051 w 3574257"/>
              <a:gd name="connsiteY2" fmla="*/ 307181 h 1807368"/>
              <a:gd name="connsiteX3" fmla="*/ 3574257 w 3574257"/>
              <a:gd name="connsiteY3" fmla="*/ 1807368 h 1807368"/>
              <a:gd name="connsiteX4" fmla="*/ 2382 w 3574257"/>
              <a:gd name="connsiteY4" fmla="*/ 1807368 h 1807368"/>
              <a:gd name="connsiteX0" fmla="*/ 2382 w 3574257"/>
              <a:gd name="connsiteY0" fmla="*/ 1809749 h 1809749"/>
              <a:gd name="connsiteX1" fmla="*/ 0 w 3574257"/>
              <a:gd name="connsiteY1" fmla="*/ 2381 h 1809749"/>
              <a:gd name="connsiteX2" fmla="*/ 2038351 w 3574257"/>
              <a:gd name="connsiteY2" fmla="*/ 0 h 1809749"/>
              <a:gd name="connsiteX3" fmla="*/ 3574257 w 3574257"/>
              <a:gd name="connsiteY3" fmla="*/ 1809749 h 1809749"/>
              <a:gd name="connsiteX4" fmla="*/ 2382 w 3574257"/>
              <a:gd name="connsiteY4" fmla="*/ 1809749 h 1809749"/>
              <a:gd name="connsiteX0" fmla="*/ 2382 w 3574257"/>
              <a:gd name="connsiteY0" fmla="*/ 1807368 h 1807368"/>
              <a:gd name="connsiteX1" fmla="*/ 0 w 3574257"/>
              <a:gd name="connsiteY1" fmla="*/ 0 h 1807368"/>
              <a:gd name="connsiteX2" fmla="*/ 1640682 w 3574257"/>
              <a:gd name="connsiteY2" fmla="*/ 450057 h 1807368"/>
              <a:gd name="connsiteX3" fmla="*/ 3574257 w 3574257"/>
              <a:gd name="connsiteY3" fmla="*/ 1807368 h 1807368"/>
              <a:gd name="connsiteX4" fmla="*/ 2382 w 3574257"/>
              <a:gd name="connsiteY4" fmla="*/ 1807368 h 1807368"/>
              <a:gd name="connsiteX0" fmla="*/ 2382 w 3574257"/>
              <a:gd name="connsiteY0" fmla="*/ 1809749 h 1809749"/>
              <a:gd name="connsiteX1" fmla="*/ 0 w 3574257"/>
              <a:gd name="connsiteY1" fmla="*/ 2381 h 1809749"/>
              <a:gd name="connsiteX2" fmla="*/ 2038351 w 3574257"/>
              <a:gd name="connsiteY2" fmla="*/ 0 h 1809749"/>
              <a:gd name="connsiteX3" fmla="*/ 3574257 w 3574257"/>
              <a:gd name="connsiteY3" fmla="*/ 1809749 h 1809749"/>
              <a:gd name="connsiteX4" fmla="*/ 2382 w 3574257"/>
              <a:gd name="connsiteY4" fmla="*/ 1809749 h 1809749"/>
              <a:gd name="connsiteX0" fmla="*/ 2382 w 3574257"/>
              <a:gd name="connsiteY0" fmla="*/ 1807368 h 1807368"/>
              <a:gd name="connsiteX1" fmla="*/ 0 w 3574257"/>
              <a:gd name="connsiteY1" fmla="*/ 0 h 1807368"/>
              <a:gd name="connsiteX2" fmla="*/ 1657351 w 3574257"/>
              <a:gd name="connsiteY2" fmla="*/ 230982 h 1807368"/>
              <a:gd name="connsiteX3" fmla="*/ 3574257 w 3574257"/>
              <a:gd name="connsiteY3" fmla="*/ 1807368 h 1807368"/>
              <a:gd name="connsiteX4" fmla="*/ 2382 w 3574257"/>
              <a:gd name="connsiteY4" fmla="*/ 1807368 h 1807368"/>
              <a:gd name="connsiteX0" fmla="*/ 2382 w 3574257"/>
              <a:gd name="connsiteY0" fmla="*/ 1807368 h 1807368"/>
              <a:gd name="connsiteX1" fmla="*/ 0 w 3574257"/>
              <a:gd name="connsiteY1" fmla="*/ 0 h 1807368"/>
              <a:gd name="connsiteX2" fmla="*/ 2040732 w 3574257"/>
              <a:gd name="connsiteY2" fmla="*/ 2382 h 1807368"/>
              <a:gd name="connsiteX3" fmla="*/ 3574257 w 3574257"/>
              <a:gd name="connsiteY3" fmla="*/ 1807368 h 1807368"/>
              <a:gd name="connsiteX4" fmla="*/ 2382 w 3574257"/>
              <a:gd name="connsiteY4" fmla="*/ 1807368 h 1807368"/>
              <a:gd name="connsiteX0" fmla="*/ 2382 w 3574257"/>
              <a:gd name="connsiteY0" fmla="*/ 1807368 h 1807368"/>
              <a:gd name="connsiteX1" fmla="*/ 0 w 3574257"/>
              <a:gd name="connsiteY1" fmla="*/ 0 h 1807368"/>
              <a:gd name="connsiteX2" fmla="*/ 1774032 w 3574257"/>
              <a:gd name="connsiteY2" fmla="*/ 161925 h 1807368"/>
              <a:gd name="connsiteX3" fmla="*/ 3574257 w 3574257"/>
              <a:gd name="connsiteY3" fmla="*/ 1807368 h 1807368"/>
              <a:gd name="connsiteX4" fmla="*/ 2382 w 3574257"/>
              <a:gd name="connsiteY4" fmla="*/ 1807368 h 1807368"/>
              <a:gd name="connsiteX0" fmla="*/ 2382 w 3574257"/>
              <a:gd name="connsiteY0" fmla="*/ 1807368 h 1807368"/>
              <a:gd name="connsiteX1" fmla="*/ 0 w 3574257"/>
              <a:gd name="connsiteY1" fmla="*/ 0 h 1807368"/>
              <a:gd name="connsiteX2" fmla="*/ 1969294 w 3574257"/>
              <a:gd name="connsiteY2" fmla="*/ 21432 h 1807368"/>
              <a:gd name="connsiteX3" fmla="*/ 3574257 w 3574257"/>
              <a:gd name="connsiteY3" fmla="*/ 1807368 h 1807368"/>
              <a:gd name="connsiteX4" fmla="*/ 2382 w 3574257"/>
              <a:gd name="connsiteY4" fmla="*/ 1807368 h 1807368"/>
              <a:gd name="connsiteX0" fmla="*/ 2382 w 3574257"/>
              <a:gd name="connsiteY0" fmla="*/ 1807368 h 1807368"/>
              <a:gd name="connsiteX1" fmla="*/ 0 w 3574257"/>
              <a:gd name="connsiteY1" fmla="*/ 0 h 1807368"/>
              <a:gd name="connsiteX2" fmla="*/ 1819275 w 3574257"/>
              <a:gd name="connsiteY2" fmla="*/ 200026 h 1807368"/>
              <a:gd name="connsiteX3" fmla="*/ 3574257 w 3574257"/>
              <a:gd name="connsiteY3" fmla="*/ 1807368 h 1807368"/>
              <a:gd name="connsiteX4" fmla="*/ 2382 w 3574257"/>
              <a:gd name="connsiteY4" fmla="*/ 1807368 h 1807368"/>
              <a:gd name="connsiteX0" fmla="*/ 2382 w 3574257"/>
              <a:gd name="connsiteY0" fmla="*/ 1807368 h 1807368"/>
              <a:gd name="connsiteX1" fmla="*/ 0 w 3574257"/>
              <a:gd name="connsiteY1" fmla="*/ 0 h 1807368"/>
              <a:gd name="connsiteX2" fmla="*/ 2045494 w 3574257"/>
              <a:gd name="connsiteY2" fmla="*/ 1 h 1807368"/>
              <a:gd name="connsiteX3" fmla="*/ 3574257 w 3574257"/>
              <a:gd name="connsiteY3" fmla="*/ 1807368 h 1807368"/>
              <a:gd name="connsiteX4" fmla="*/ 2382 w 3574257"/>
              <a:gd name="connsiteY4" fmla="*/ 1807368 h 18073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574257" h="1807368">
                <a:moveTo>
                  <a:pt x="2382" y="1807368"/>
                </a:moveTo>
                <a:lnTo>
                  <a:pt x="0" y="0"/>
                </a:lnTo>
                <a:lnTo>
                  <a:pt x="2045494" y="1"/>
                </a:lnTo>
                <a:lnTo>
                  <a:pt x="3574257" y="1807368"/>
                </a:lnTo>
                <a:lnTo>
                  <a:pt x="2382" y="1807368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reeform 7"/>
          <p:cNvSpPr/>
          <p:nvPr/>
        </p:nvSpPr>
        <p:spPr>
          <a:xfrm>
            <a:off x="-2380" y="5051292"/>
            <a:ext cx="9146380" cy="1806709"/>
          </a:xfrm>
          <a:custGeom>
            <a:avLst/>
            <a:gdLst>
              <a:gd name="connsiteX0" fmla="*/ 0 w 3350419"/>
              <a:gd name="connsiteY0" fmla="*/ 2081213 h 2083594"/>
              <a:gd name="connsiteX1" fmla="*/ 3031331 w 3350419"/>
              <a:gd name="connsiteY1" fmla="*/ 0 h 2083594"/>
              <a:gd name="connsiteX2" fmla="*/ 3350419 w 3350419"/>
              <a:gd name="connsiteY2" fmla="*/ 80963 h 2083594"/>
              <a:gd name="connsiteX3" fmla="*/ 3350419 w 3350419"/>
              <a:gd name="connsiteY3" fmla="*/ 2083594 h 2083594"/>
              <a:gd name="connsiteX4" fmla="*/ 0 w 3350419"/>
              <a:gd name="connsiteY4" fmla="*/ 2081213 h 2083594"/>
              <a:gd name="connsiteX0" fmla="*/ 0 w 3112294"/>
              <a:gd name="connsiteY0" fmla="*/ 2019301 h 2083594"/>
              <a:gd name="connsiteX1" fmla="*/ 2793206 w 3112294"/>
              <a:gd name="connsiteY1" fmla="*/ 0 h 2083594"/>
              <a:gd name="connsiteX2" fmla="*/ 3112294 w 3112294"/>
              <a:gd name="connsiteY2" fmla="*/ 80963 h 2083594"/>
              <a:gd name="connsiteX3" fmla="*/ 3112294 w 3112294"/>
              <a:gd name="connsiteY3" fmla="*/ 2083594 h 2083594"/>
              <a:gd name="connsiteX4" fmla="*/ 0 w 3112294"/>
              <a:gd name="connsiteY4" fmla="*/ 2019301 h 2083594"/>
              <a:gd name="connsiteX0" fmla="*/ 0 w 3345656"/>
              <a:gd name="connsiteY0" fmla="*/ 2097882 h 2097882"/>
              <a:gd name="connsiteX1" fmla="*/ 3026568 w 3345656"/>
              <a:gd name="connsiteY1" fmla="*/ 0 h 2097882"/>
              <a:gd name="connsiteX2" fmla="*/ 3345656 w 3345656"/>
              <a:gd name="connsiteY2" fmla="*/ 80963 h 2097882"/>
              <a:gd name="connsiteX3" fmla="*/ 3345656 w 3345656"/>
              <a:gd name="connsiteY3" fmla="*/ 2083594 h 2097882"/>
              <a:gd name="connsiteX4" fmla="*/ 0 w 3345656"/>
              <a:gd name="connsiteY4" fmla="*/ 2097882 h 2097882"/>
              <a:gd name="connsiteX0" fmla="*/ 0 w 2800350"/>
              <a:gd name="connsiteY0" fmla="*/ 1935957 h 2083594"/>
              <a:gd name="connsiteX1" fmla="*/ 2481262 w 2800350"/>
              <a:gd name="connsiteY1" fmla="*/ 0 h 2083594"/>
              <a:gd name="connsiteX2" fmla="*/ 2800350 w 2800350"/>
              <a:gd name="connsiteY2" fmla="*/ 80963 h 2083594"/>
              <a:gd name="connsiteX3" fmla="*/ 2800350 w 2800350"/>
              <a:gd name="connsiteY3" fmla="*/ 2083594 h 2083594"/>
              <a:gd name="connsiteX4" fmla="*/ 0 w 2800350"/>
              <a:gd name="connsiteY4" fmla="*/ 1935957 h 2083594"/>
              <a:gd name="connsiteX0" fmla="*/ 0 w 3352800"/>
              <a:gd name="connsiteY0" fmla="*/ 2083594 h 2083594"/>
              <a:gd name="connsiteX1" fmla="*/ 3033712 w 3352800"/>
              <a:gd name="connsiteY1" fmla="*/ 0 h 2083594"/>
              <a:gd name="connsiteX2" fmla="*/ 3352800 w 3352800"/>
              <a:gd name="connsiteY2" fmla="*/ 80963 h 2083594"/>
              <a:gd name="connsiteX3" fmla="*/ 3352800 w 3352800"/>
              <a:gd name="connsiteY3" fmla="*/ 2083594 h 2083594"/>
              <a:gd name="connsiteX4" fmla="*/ 0 w 3352800"/>
              <a:gd name="connsiteY4" fmla="*/ 2083594 h 2083594"/>
              <a:gd name="connsiteX0" fmla="*/ 0 w 3352800"/>
              <a:gd name="connsiteY0" fmla="*/ 2002631 h 2002631"/>
              <a:gd name="connsiteX1" fmla="*/ 3033712 w 3352800"/>
              <a:gd name="connsiteY1" fmla="*/ 157162 h 2002631"/>
              <a:gd name="connsiteX2" fmla="*/ 3352800 w 3352800"/>
              <a:gd name="connsiteY2" fmla="*/ 0 h 2002631"/>
              <a:gd name="connsiteX3" fmla="*/ 3352800 w 3352800"/>
              <a:gd name="connsiteY3" fmla="*/ 2002631 h 2002631"/>
              <a:gd name="connsiteX4" fmla="*/ 0 w 3352800"/>
              <a:gd name="connsiteY4" fmla="*/ 2002631 h 2002631"/>
              <a:gd name="connsiteX0" fmla="*/ 0 w 3352800"/>
              <a:gd name="connsiteY0" fmla="*/ 2002631 h 2002631"/>
              <a:gd name="connsiteX1" fmla="*/ 2988469 w 3352800"/>
              <a:gd name="connsiteY1" fmla="*/ 59530 h 2002631"/>
              <a:gd name="connsiteX2" fmla="*/ 3352800 w 3352800"/>
              <a:gd name="connsiteY2" fmla="*/ 0 h 2002631"/>
              <a:gd name="connsiteX3" fmla="*/ 3352800 w 3352800"/>
              <a:gd name="connsiteY3" fmla="*/ 2002631 h 2002631"/>
              <a:gd name="connsiteX4" fmla="*/ 0 w 3352800"/>
              <a:gd name="connsiteY4" fmla="*/ 2002631 h 2002631"/>
              <a:gd name="connsiteX0" fmla="*/ 0 w 3352800"/>
              <a:gd name="connsiteY0" fmla="*/ 2002631 h 2002631"/>
              <a:gd name="connsiteX1" fmla="*/ 2833966 w 3352800"/>
              <a:gd name="connsiteY1" fmla="*/ 425 h 2002631"/>
              <a:gd name="connsiteX2" fmla="*/ 3352800 w 3352800"/>
              <a:gd name="connsiteY2" fmla="*/ 0 h 2002631"/>
              <a:gd name="connsiteX3" fmla="*/ 3352800 w 3352800"/>
              <a:gd name="connsiteY3" fmla="*/ 2002631 h 2002631"/>
              <a:gd name="connsiteX4" fmla="*/ 0 w 3352800"/>
              <a:gd name="connsiteY4" fmla="*/ 2002631 h 2002631"/>
              <a:gd name="connsiteX0" fmla="*/ 0 w 3352800"/>
              <a:gd name="connsiteY0" fmla="*/ 2002631 h 2002631"/>
              <a:gd name="connsiteX1" fmla="*/ 2845314 w 3352800"/>
              <a:gd name="connsiteY1" fmla="*/ 12246 h 2002631"/>
              <a:gd name="connsiteX2" fmla="*/ 3352800 w 3352800"/>
              <a:gd name="connsiteY2" fmla="*/ 0 h 2002631"/>
              <a:gd name="connsiteX3" fmla="*/ 3352800 w 3352800"/>
              <a:gd name="connsiteY3" fmla="*/ 2002631 h 2002631"/>
              <a:gd name="connsiteX4" fmla="*/ 0 w 3352800"/>
              <a:gd name="connsiteY4" fmla="*/ 2002631 h 2002631"/>
              <a:gd name="connsiteX0" fmla="*/ 0 w 3352800"/>
              <a:gd name="connsiteY0" fmla="*/ 2002631 h 2002631"/>
              <a:gd name="connsiteX1" fmla="*/ 2834839 w 3352800"/>
              <a:gd name="connsiteY1" fmla="*/ 425 h 2002631"/>
              <a:gd name="connsiteX2" fmla="*/ 3352800 w 3352800"/>
              <a:gd name="connsiteY2" fmla="*/ 0 h 2002631"/>
              <a:gd name="connsiteX3" fmla="*/ 3352800 w 3352800"/>
              <a:gd name="connsiteY3" fmla="*/ 2002631 h 2002631"/>
              <a:gd name="connsiteX4" fmla="*/ 0 w 3352800"/>
              <a:gd name="connsiteY4" fmla="*/ 2002631 h 2002631"/>
              <a:gd name="connsiteX0" fmla="*/ 0 w 3352800"/>
              <a:gd name="connsiteY0" fmla="*/ 2002631 h 2002631"/>
              <a:gd name="connsiteX1" fmla="*/ 2875865 w 3352800"/>
              <a:gd name="connsiteY1" fmla="*/ 81782 h 2002631"/>
              <a:gd name="connsiteX2" fmla="*/ 3352800 w 3352800"/>
              <a:gd name="connsiteY2" fmla="*/ 0 h 2002631"/>
              <a:gd name="connsiteX3" fmla="*/ 3352800 w 3352800"/>
              <a:gd name="connsiteY3" fmla="*/ 2002631 h 2002631"/>
              <a:gd name="connsiteX4" fmla="*/ 0 w 3352800"/>
              <a:gd name="connsiteY4" fmla="*/ 2002631 h 2002631"/>
              <a:gd name="connsiteX0" fmla="*/ 0 w 3352800"/>
              <a:gd name="connsiteY0" fmla="*/ 2002901 h 2002901"/>
              <a:gd name="connsiteX1" fmla="*/ 2836585 w 3352800"/>
              <a:gd name="connsiteY1" fmla="*/ 0 h 2002901"/>
              <a:gd name="connsiteX2" fmla="*/ 3352800 w 3352800"/>
              <a:gd name="connsiteY2" fmla="*/ 270 h 2002901"/>
              <a:gd name="connsiteX3" fmla="*/ 3352800 w 3352800"/>
              <a:gd name="connsiteY3" fmla="*/ 2002901 h 2002901"/>
              <a:gd name="connsiteX4" fmla="*/ 0 w 3352800"/>
              <a:gd name="connsiteY4" fmla="*/ 2002901 h 2002901"/>
              <a:gd name="connsiteX0" fmla="*/ 0 w 3352800"/>
              <a:gd name="connsiteY0" fmla="*/ 2002631 h 2002631"/>
              <a:gd name="connsiteX1" fmla="*/ 754045 w 3352800"/>
              <a:gd name="connsiteY1" fmla="*/ 1468326 h 2002631"/>
              <a:gd name="connsiteX2" fmla="*/ 3352800 w 3352800"/>
              <a:gd name="connsiteY2" fmla="*/ 0 h 2002631"/>
              <a:gd name="connsiteX3" fmla="*/ 3352800 w 3352800"/>
              <a:gd name="connsiteY3" fmla="*/ 2002631 h 2002631"/>
              <a:gd name="connsiteX4" fmla="*/ 0 w 3352800"/>
              <a:gd name="connsiteY4" fmla="*/ 2002631 h 2002631"/>
              <a:gd name="connsiteX0" fmla="*/ 0 w 3352800"/>
              <a:gd name="connsiteY0" fmla="*/ 534305 h 534305"/>
              <a:gd name="connsiteX1" fmla="*/ 754045 w 3352800"/>
              <a:gd name="connsiteY1" fmla="*/ 0 h 534305"/>
              <a:gd name="connsiteX2" fmla="*/ 3352800 w 3352800"/>
              <a:gd name="connsiteY2" fmla="*/ 7687 h 534305"/>
              <a:gd name="connsiteX3" fmla="*/ 3352800 w 3352800"/>
              <a:gd name="connsiteY3" fmla="*/ 534305 h 534305"/>
              <a:gd name="connsiteX4" fmla="*/ 0 w 3352800"/>
              <a:gd name="connsiteY4" fmla="*/ 534305 h 534305"/>
              <a:gd name="connsiteX0" fmla="*/ 0 w 3352800"/>
              <a:gd name="connsiteY0" fmla="*/ 534305 h 534305"/>
              <a:gd name="connsiteX1" fmla="*/ 754045 w 3352800"/>
              <a:gd name="connsiteY1" fmla="*/ 0 h 534305"/>
              <a:gd name="connsiteX2" fmla="*/ 3352800 w 3352800"/>
              <a:gd name="connsiteY2" fmla="*/ 7687 h 534305"/>
              <a:gd name="connsiteX3" fmla="*/ 3352800 w 3352800"/>
              <a:gd name="connsiteY3" fmla="*/ 534305 h 534305"/>
              <a:gd name="connsiteX4" fmla="*/ 0 w 3352800"/>
              <a:gd name="connsiteY4" fmla="*/ 534305 h 534305"/>
              <a:gd name="connsiteX0" fmla="*/ 0 w 3352800"/>
              <a:gd name="connsiteY0" fmla="*/ 526618 h 526618"/>
              <a:gd name="connsiteX1" fmla="*/ 980611 w 3352800"/>
              <a:gd name="connsiteY1" fmla="*/ 93681 h 526618"/>
              <a:gd name="connsiteX2" fmla="*/ 3352800 w 3352800"/>
              <a:gd name="connsiteY2" fmla="*/ 0 h 526618"/>
              <a:gd name="connsiteX3" fmla="*/ 3352800 w 3352800"/>
              <a:gd name="connsiteY3" fmla="*/ 526618 h 526618"/>
              <a:gd name="connsiteX4" fmla="*/ 0 w 3352800"/>
              <a:gd name="connsiteY4" fmla="*/ 526618 h 526618"/>
              <a:gd name="connsiteX0" fmla="*/ 0 w 3352800"/>
              <a:gd name="connsiteY0" fmla="*/ 526888 h 526888"/>
              <a:gd name="connsiteX1" fmla="*/ 744735 w 3352800"/>
              <a:gd name="connsiteY1" fmla="*/ 0 h 526888"/>
              <a:gd name="connsiteX2" fmla="*/ 3352800 w 3352800"/>
              <a:gd name="connsiteY2" fmla="*/ 270 h 526888"/>
              <a:gd name="connsiteX3" fmla="*/ 3352800 w 3352800"/>
              <a:gd name="connsiteY3" fmla="*/ 526888 h 526888"/>
              <a:gd name="connsiteX4" fmla="*/ 0 w 3352800"/>
              <a:gd name="connsiteY4" fmla="*/ 526888 h 526888"/>
              <a:gd name="connsiteX0" fmla="*/ 0 w 3352800"/>
              <a:gd name="connsiteY0" fmla="*/ 526618 h 526618"/>
              <a:gd name="connsiteX1" fmla="*/ 811948 w 3352800"/>
              <a:gd name="connsiteY1" fmla="*/ 60921 h 526618"/>
              <a:gd name="connsiteX2" fmla="*/ 3352800 w 3352800"/>
              <a:gd name="connsiteY2" fmla="*/ 0 h 526618"/>
              <a:gd name="connsiteX3" fmla="*/ 3352800 w 3352800"/>
              <a:gd name="connsiteY3" fmla="*/ 526618 h 526618"/>
              <a:gd name="connsiteX4" fmla="*/ 0 w 3352800"/>
              <a:gd name="connsiteY4" fmla="*/ 526618 h 526618"/>
              <a:gd name="connsiteX0" fmla="*/ 0 w 3352800"/>
              <a:gd name="connsiteY0" fmla="*/ 527584 h 527584"/>
              <a:gd name="connsiteX1" fmla="*/ 751718 w 3352800"/>
              <a:gd name="connsiteY1" fmla="*/ 0 h 527584"/>
              <a:gd name="connsiteX2" fmla="*/ 3352800 w 3352800"/>
              <a:gd name="connsiteY2" fmla="*/ 966 h 527584"/>
              <a:gd name="connsiteX3" fmla="*/ 3352800 w 3352800"/>
              <a:gd name="connsiteY3" fmla="*/ 527584 h 527584"/>
              <a:gd name="connsiteX4" fmla="*/ 0 w 3352800"/>
              <a:gd name="connsiteY4" fmla="*/ 527584 h 527584"/>
              <a:gd name="connsiteX0" fmla="*/ 0 w 3352800"/>
              <a:gd name="connsiteY0" fmla="*/ 527584 h 527584"/>
              <a:gd name="connsiteX1" fmla="*/ 751718 w 3352800"/>
              <a:gd name="connsiteY1" fmla="*/ 0 h 527584"/>
              <a:gd name="connsiteX2" fmla="*/ 3241069 w 3352800"/>
              <a:gd name="connsiteY2" fmla="*/ 94144 h 527584"/>
              <a:gd name="connsiteX3" fmla="*/ 3352800 w 3352800"/>
              <a:gd name="connsiteY3" fmla="*/ 527584 h 527584"/>
              <a:gd name="connsiteX4" fmla="*/ 0 w 3352800"/>
              <a:gd name="connsiteY4" fmla="*/ 527584 h 527584"/>
              <a:gd name="connsiteX0" fmla="*/ 0 w 3352800"/>
              <a:gd name="connsiteY0" fmla="*/ 527584 h 527584"/>
              <a:gd name="connsiteX1" fmla="*/ 751718 w 3352800"/>
              <a:gd name="connsiteY1" fmla="*/ 0 h 527584"/>
              <a:gd name="connsiteX2" fmla="*/ 3352800 w 3352800"/>
              <a:gd name="connsiteY2" fmla="*/ 271 h 527584"/>
              <a:gd name="connsiteX3" fmla="*/ 3352800 w 3352800"/>
              <a:gd name="connsiteY3" fmla="*/ 527584 h 527584"/>
              <a:gd name="connsiteX4" fmla="*/ 0 w 3352800"/>
              <a:gd name="connsiteY4" fmla="*/ 527584 h 527584"/>
              <a:gd name="connsiteX0" fmla="*/ 0 w 3352800"/>
              <a:gd name="connsiteY0" fmla="*/ 527313 h 527313"/>
              <a:gd name="connsiteX1" fmla="*/ 900984 w 3352800"/>
              <a:gd name="connsiteY1" fmla="*/ 97774 h 527313"/>
              <a:gd name="connsiteX2" fmla="*/ 3352800 w 3352800"/>
              <a:gd name="connsiteY2" fmla="*/ 0 h 527313"/>
              <a:gd name="connsiteX3" fmla="*/ 3352800 w 3352800"/>
              <a:gd name="connsiteY3" fmla="*/ 527313 h 527313"/>
              <a:gd name="connsiteX4" fmla="*/ 0 w 3352800"/>
              <a:gd name="connsiteY4" fmla="*/ 527313 h 527313"/>
              <a:gd name="connsiteX0" fmla="*/ 0 w 3352800"/>
              <a:gd name="connsiteY0" fmla="*/ 527584 h 527584"/>
              <a:gd name="connsiteX1" fmla="*/ 748227 w 3352800"/>
              <a:gd name="connsiteY1" fmla="*/ 0 h 527584"/>
              <a:gd name="connsiteX2" fmla="*/ 3352800 w 3352800"/>
              <a:gd name="connsiteY2" fmla="*/ 271 h 527584"/>
              <a:gd name="connsiteX3" fmla="*/ 3352800 w 3352800"/>
              <a:gd name="connsiteY3" fmla="*/ 527584 h 527584"/>
              <a:gd name="connsiteX4" fmla="*/ 0 w 3352800"/>
              <a:gd name="connsiteY4" fmla="*/ 527584 h 5275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352800" h="527584">
                <a:moveTo>
                  <a:pt x="0" y="527584"/>
                </a:moveTo>
                <a:lnTo>
                  <a:pt x="748227" y="0"/>
                </a:lnTo>
                <a:lnTo>
                  <a:pt x="3352800" y="271"/>
                </a:lnTo>
                <a:lnTo>
                  <a:pt x="3352800" y="527584"/>
                </a:lnTo>
                <a:lnTo>
                  <a:pt x="0" y="527584"/>
                </a:lnTo>
                <a:close/>
              </a:path>
            </a:pathLst>
          </a:custGeom>
          <a:solidFill>
            <a:schemeClr val="accent3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22960" y="365760"/>
            <a:ext cx="7520940" cy="54864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22960" y="1100628"/>
            <a:ext cx="7520940" cy="35798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 rot="19140000">
            <a:off x="201168" y="5870448"/>
            <a:ext cx="2176272" cy="20116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rgbClr val="FFFFFF"/>
                </a:solidFill>
              </a:defRPr>
            </a:lvl1pPr>
          </a:lstStyle>
          <a:p>
            <a:fld id="{53366D98-0476-4199-8E0E-2BAD5FB94140}" type="datetimeFigureOut">
              <a:rPr lang="el-GR" smtClean="0"/>
              <a:t>27/1/2021</a:t>
            </a:fld>
            <a:endParaRPr lang="el-G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517514" y="6285122"/>
            <a:ext cx="4724400" cy="27432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cap="all" spc="200" baseline="0">
                <a:solidFill>
                  <a:srgbClr val="FFFFFF"/>
                </a:solidFill>
              </a:defRPr>
            </a:lvl1pPr>
          </a:lstStyle>
          <a:p>
            <a:endParaRPr lang="el-G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401038" y="6170822"/>
            <a:ext cx="502920" cy="502920"/>
          </a:xfrm>
          <a:prstGeom prst="ellipse">
            <a:avLst/>
          </a:prstGeom>
          <a:ln w="19050">
            <a:solidFill>
              <a:srgbClr val="FFFFFF"/>
            </a:solidFill>
          </a:ln>
        </p:spPr>
        <p:txBody>
          <a:bodyPr vert="horz" lIns="9144" tIns="9144" rIns="9144" bIns="9144" rtlCol="0" anchor="ctr">
            <a:normAutofit/>
          </a:bodyPr>
          <a:lstStyle>
            <a:lvl1pPr algn="ctr">
              <a:defRPr sz="1650">
                <a:solidFill>
                  <a:srgbClr val="FFFFFF"/>
                </a:solidFill>
              </a:defRPr>
            </a:lvl1pPr>
          </a:lstStyle>
          <a:p>
            <a:fld id="{1A94A1A0-6A53-44DD-A84D-01F3A07D2C36}" type="slidenum">
              <a:rPr lang="el-GR" smtClean="0"/>
              <a:t>‹#›</a:t>
            </a:fld>
            <a:endParaRPr lang="el-G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xStyles>
    <p:titleStyle>
      <a:lvl1pPr algn="l" defTabSz="914400" rtl="0" eaLnBrk="1" latinLnBrk="0" hangingPunct="1">
        <a:spcBef>
          <a:spcPct val="0"/>
        </a:spcBef>
        <a:buNone/>
        <a:defRPr sz="2800" kern="1200" cap="all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ts val="800"/>
        </a:spcBef>
        <a:buFont typeface="Arial" pitchFamily="34" charset="0"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173736" indent="-173736" algn="l" defTabSz="914400" rtl="0" eaLnBrk="1" latinLnBrk="0" hangingPunct="1">
        <a:spcBef>
          <a:spcPts val="300"/>
        </a:spcBef>
        <a:buClr>
          <a:schemeClr val="accent2"/>
        </a:buClr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402336" indent="-164592" algn="l" defTabSz="914400" rtl="0" eaLnBrk="1" latinLnBrk="0" hangingPunct="1">
        <a:spcBef>
          <a:spcPts val="300"/>
        </a:spcBef>
        <a:buClr>
          <a:schemeClr val="accent2"/>
        </a:buClr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30936" indent="-164592" algn="l" defTabSz="914400" rtl="0" eaLnBrk="1" latinLnBrk="0" hangingPunct="1">
        <a:spcBef>
          <a:spcPts val="300"/>
        </a:spcBef>
        <a:buClr>
          <a:schemeClr val="accent2"/>
        </a:buClr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59536" indent="-173736" algn="l" defTabSz="914400" rtl="0" eaLnBrk="1" latinLnBrk="0" hangingPunct="1">
        <a:spcBef>
          <a:spcPts val="300"/>
        </a:spcBef>
        <a:buClr>
          <a:schemeClr val="accent2"/>
        </a:buClr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097280" indent="-173736" algn="l" defTabSz="914400" rtl="0" eaLnBrk="1" latinLnBrk="0" hangingPunct="1">
        <a:spcBef>
          <a:spcPts val="300"/>
        </a:spcBef>
        <a:buClr>
          <a:schemeClr val="accent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353312" indent="-164592" algn="l" defTabSz="914400" rtl="0" eaLnBrk="1" latinLnBrk="0" hangingPunct="1">
        <a:spcBef>
          <a:spcPts val="300"/>
        </a:spcBef>
        <a:buClr>
          <a:schemeClr val="accent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581912" indent="-164592" algn="l" defTabSz="914400" rtl="0" eaLnBrk="1" latinLnBrk="0" hangingPunct="1">
        <a:spcBef>
          <a:spcPts val="300"/>
        </a:spcBef>
        <a:buClr>
          <a:schemeClr val="accent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1792224" indent="-164592" algn="l" defTabSz="914400" rtl="0" eaLnBrk="1" latinLnBrk="0" hangingPunct="1">
        <a:spcBef>
          <a:spcPts val="300"/>
        </a:spcBef>
        <a:buClr>
          <a:schemeClr val="accent2"/>
        </a:buClr>
        <a:buFont typeface="Wingdings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5" Type="http://schemas.openxmlformats.org/officeDocument/2006/relationships/tags" Target="../tags/tag11.xml"/><Relationship Id="rId4" Type="http://schemas.openxmlformats.org/officeDocument/2006/relationships/tags" Target="../tags/tag10.xml"/><Relationship Id="rId9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hyperlink" Target="http://www.iccyaf.org/" TargetMode="Externa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slideLayout" Target="../slideLayouts/slideLayout4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6097" y="1678742"/>
            <a:ext cx="5496023" cy="1348061"/>
          </a:xfrm>
          <a:noFill/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r>
              <a:rPr lang="en-US" sz="2800" b="1" dirty="0"/>
              <a:t>2021 ICC Arbitration Rules focus on third party funding </a:t>
            </a:r>
          </a:p>
        </p:txBody>
      </p:sp>
      <p:pic>
        <p:nvPicPr>
          <p:cNvPr id="3" name="Imag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1" y="404664"/>
            <a:ext cx="2304256" cy="598577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4211960" y="4909810"/>
            <a:ext cx="4572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pl-PL" b="1" dirty="0">
                <a:solidFill>
                  <a:schemeClr val="bg1"/>
                </a:solidFill>
              </a:rPr>
              <a:t>Online event, 28 January 2021</a:t>
            </a:r>
            <a:endParaRPr lang="en-US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5568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ytuł 3"/>
          <p:cNvSpPr>
            <a:spLocks noGrp="1"/>
          </p:cNvSpPr>
          <p:nvPr>
            <p:ph type="title"/>
          </p:nvPr>
        </p:nvSpPr>
        <p:spPr>
          <a:xfrm>
            <a:off x="822960" y="346095"/>
            <a:ext cx="7520940" cy="548640"/>
          </a:xfrm>
        </p:spPr>
        <p:txBody>
          <a:bodyPr/>
          <a:lstStyle/>
          <a:p>
            <a:r>
              <a:rPr lang="en-US" dirty="0"/>
              <a:t>Basics of litigation funding</a:t>
            </a:r>
            <a:endParaRPr lang="pl-PL" dirty="0"/>
          </a:p>
        </p:txBody>
      </p:sp>
      <p:sp>
        <p:nvSpPr>
          <p:cNvPr id="5" name="Rectangle 31">
            <a:extLst>
              <a:ext uri="{FF2B5EF4-FFF2-40B4-BE49-F238E27FC236}">
                <a16:creationId xmlns:a16="http://schemas.microsoft.com/office/drawing/2014/main" id="{803F1086-B7D3-4A68-BAE1-90D54F9A8AB6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07504" y="924694"/>
            <a:ext cx="2420717" cy="1136154"/>
          </a:xfrm>
          <a:prstGeom prst="rect">
            <a:avLst/>
          </a:prstGeom>
          <a:solidFill>
            <a:srgbClr val="748C9E"/>
          </a:solidFill>
          <a:ln w="12700">
            <a:miter lim="400000"/>
          </a:ln>
        </p:spPr>
        <p:txBody>
          <a:bodyPr lIns="35719" tIns="35719" rIns="35719" bIns="35719" anchor="ctr"/>
          <a:lstStyle/>
          <a:p>
            <a:pPr algn="ctr" defTabSz="410751" hangingPunct="0">
              <a:defRPr/>
            </a:pPr>
            <a:r>
              <a:rPr lang="de-CH" sz="1125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e </a:t>
            </a:r>
            <a:r>
              <a:rPr lang="de-CH" sz="1125" b="1" dirty="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fering</a:t>
            </a:r>
            <a:endParaRPr lang="de-CH" sz="1125" b="1" kern="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Helvetica Light"/>
            </a:endParaRPr>
          </a:p>
        </p:txBody>
      </p:sp>
      <p:sp>
        <p:nvSpPr>
          <p:cNvPr id="6" name="Rectangle 29">
            <a:extLst>
              <a:ext uri="{FF2B5EF4-FFF2-40B4-BE49-F238E27FC236}">
                <a16:creationId xmlns:a16="http://schemas.microsoft.com/office/drawing/2014/main" id="{38391E7E-E075-48D0-970A-317DEA70FC7A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528221" y="924694"/>
            <a:ext cx="6508275" cy="1136154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lIns="107993" tIns="45717" rIns="45717" bIns="45717" anchor="t" anchorCtr="0"/>
          <a:lstStyle/>
          <a:p>
            <a:pPr marL="189749" indent="-189749">
              <a:lnSpc>
                <a:spcPct val="150000"/>
              </a:lnSpc>
              <a:buChar char="-"/>
            </a:pPr>
            <a:r>
              <a:rPr lang="en-US" sz="1125" dirty="0">
                <a:solidFill>
                  <a:srgbClr val="3B4A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nding part or all of the costs of litigation or arbitration</a:t>
            </a:r>
          </a:p>
          <a:p>
            <a:pPr marL="189749" indent="-189749">
              <a:lnSpc>
                <a:spcPct val="150000"/>
              </a:lnSpc>
              <a:buChar char="-"/>
            </a:pPr>
            <a:r>
              <a:rPr lang="en-US" sz="1125" dirty="0">
                <a:solidFill>
                  <a:srgbClr val="3B4A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f successful, the funder receives a share of the proceeds. If unsuccessful, the funded party does not repay the funder</a:t>
            </a:r>
          </a:p>
          <a:p>
            <a:pPr marL="189749" indent="-189749">
              <a:lnSpc>
                <a:spcPct val="150000"/>
              </a:lnSpc>
              <a:buChar char="-"/>
            </a:pPr>
            <a:r>
              <a:rPr lang="en-US" sz="1125" dirty="0">
                <a:solidFill>
                  <a:srgbClr val="3B4A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ear separation of roles: Funder does not control the litigation/arbitration</a:t>
            </a:r>
          </a:p>
        </p:txBody>
      </p:sp>
      <p:sp>
        <p:nvSpPr>
          <p:cNvPr id="7" name="Rectangle 31">
            <a:extLst>
              <a:ext uri="{FF2B5EF4-FFF2-40B4-BE49-F238E27FC236}">
                <a16:creationId xmlns:a16="http://schemas.microsoft.com/office/drawing/2014/main" id="{E0617FE6-22D3-4296-AA73-1D61A33043FC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107503" y="2115668"/>
            <a:ext cx="2420717" cy="809276"/>
          </a:xfrm>
          <a:prstGeom prst="rect">
            <a:avLst/>
          </a:prstGeom>
          <a:solidFill>
            <a:srgbClr val="748C9E"/>
          </a:solidFill>
          <a:ln w="12700">
            <a:miter lim="400000"/>
          </a:ln>
        </p:spPr>
        <p:txBody>
          <a:bodyPr lIns="35719" tIns="35719" rIns="35719" bIns="35719" anchor="ctr"/>
          <a:lstStyle/>
          <a:p>
            <a:pPr algn="ctr" defTabSz="410751" hangingPunct="0"/>
            <a:r>
              <a:rPr lang="de-CH" sz="1125" b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ents</a:t>
            </a:r>
            <a:endParaRPr lang="de-CH" sz="1125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Helvetica Light"/>
            </a:endParaRPr>
          </a:p>
        </p:txBody>
      </p:sp>
      <p:sp>
        <p:nvSpPr>
          <p:cNvPr id="8" name="Rectangle 29">
            <a:extLst>
              <a:ext uri="{FF2B5EF4-FFF2-40B4-BE49-F238E27FC236}">
                <a16:creationId xmlns:a16="http://schemas.microsoft.com/office/drawing/2014/main" id="{2CD42FD4-1814-4342-AB3F-024CDB682365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2528220" y="2115668"/>
            <a:ext cx="6508276" cy="809276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lIns="107993" tIns="45717" rIns="45717" bIns="45717" anchor="t" anchorCtr="0"/>
          <a:lstStyle/>
          <a:p>
            <a:pPr marL="189749" indent="-189749">
              <a:lnSpc>
                <a:spcPct val="150000"/>
              </a:lnSpc>
              <a:buChar char="-"/>
            </a:pPr>
            <a:r>
              <a:rPr lang="de-CH" sz="1125" dirty="0">
                <a:solidFill>
                  <a:srgbClr val="3B4A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porate </a:t>
            </a:r>
            <a:r>
              <a:rPr lang="de-CH" sz="1125" dirty="0" err="1">
                <a:solidFill>
                  <a:srgbClr val="3B4A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ents</a:t>
            </a:r>
            <a:endParaRPr lang="de-CH" sz="1125" dirty="0">
              <a:solidFill>
                <a:srgbClr val="3B4A5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89749" indent="-189749">
              <a:lnSpc>
                <a:spcPct val="150000"/>
              </a:lnSpc>
              <a:buChar char="-"/>
            </a:pPr>
            <a:r>
              <a:rPr lang="de-CH" sz="1125" dirty="0" err="1">
                <a:solidFill>
                  <a:srgbClr val="3B4A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olvency</a:t>
            </a:r>
            <a:r>
              <a:rPr lang="de-CH" sz="1125" dirty="0">
                <a:solidFill>
                  <a:srgbClr val="3B4A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1125" dirty="0" err="1">
                <a:solidFill>
                  <a:srgbClr val="3B4A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actitioners</a:t>
            </a:r>
            <a:r>
              <a:rPr lang="de-CH" sz="1125" dirty="0">
                <a:solidFill>
                  <a:srgbClr val="3B4A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                      </a:t>
            </a:r>
            <a:r>
              <a:rPr lang="de-CH" sz="1125" dirty="0" smtClean="0">
                <a:solidFill>
                  <a:srgbClr val="3B4A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</a:t>
            </a:r>
            <a:r>
              <a:rPr lang="de-CH" sz="1125" b="1" dirty="0">
                <a:solidFill>
                  <a:srgbClr val="3B4A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cess </a:t>
            </a:r>
            <a:r>
              <a:rPr lang="de-CH" sz="1125" b="1" dirty="0" err="1">
                <a:solidFill>
                  <a:srgbClr val="3B4A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</a:t>
            </a:r>
            <a:r>
              <a:rPr lang="de-CH" sz="1125" b="1" dirty="0">
                <a:solidFill>
                  <a:srgbClr val="3B4A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1125" b="1" dirty="0" err="1">
                <a:solidFill>
                  <a:srgbClr val="3B4A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ustice</a:t>
            </a:r>
            <a:r>
              <a:rPr lang="de-CH" sz="1125" b="1" dirty="0">
                <a:solidFill>
                  <a:srgbClr val="3B4A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↔ Managing legal </a:t>
            </a:r>
            <a:r>
              <a:rPr lang="de-CH" sz="1125" b="1" dirty="0" err="1">
                <a:solidFill>
                  <a:srgbClr val="3B4A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st</a:t>
            </a:r>
            <a:r>
              <a:rPr lang="de-CH" sz="1125" b="1" dirty="0">
                <a:solidFill>
                  <a:srgbClr val="3B4A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1125" b="1" dirty="0" err="1">
                <a:solidFill>
                  <a:srgbClr val="3B4A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</a:t>
            </a:r>
            <a:r>
              <a:rPr lang="de-CH" sz="1125" b="1" dirty="0">
                <a:solidFill>
                  <a:srgbClr val="3B4A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1125" b="1" dirty="0" err="1">
                <a:solidFill>
                  <a:srgbClr val="3B4A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isk</a:t>
            </a:r>
            <a:endParaRPr lang="de-CH" sz="1125" b="1" dirty="0">
              <a:solidFill>
                <a:srgbClr val="3B4A5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89749" indent="-189749">
              <a:lnSpc>
                <a:spcPct val="150000"/>
              </a:lnSpc>
              <a:buChar char="-"/>
            </a:pPr>
            <a:r>
              <a:rPr lang="de-CH" sz="1125" dirty="0">
                <a:solidFill>
                  <a:srgbClr val="3B4A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vate </a:t>
            </a:r>
            <a:r>
              <a:rPr lang="de-CH" sz="1125" dirty="0" err="1">
                <a:solidFill>
                  <a:srgbClr val="3B4A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ents</a:t>
            </a:r>
            <a:endParaRPr lang="de-DE" sz="1125" dirty="0">
              <a:solidFill>
                <a:srgbClr val="3B4A5D"/>
              </a:solidFill>
              <a:latin typeface="Arial" panose="020B0604020202020204" pitchFamily="34" charset="0"/>
              <a:cs typeface="Arial" panose="020B0604020202020204" pitchFamily="34" charset="0"/>
              <a:sym typeface="Helvetica Light"/>
            </a:endParaRPr>
          </a:p>
        </p:txBody>
      </p:sp>
      <p:sp>
        <p:nvSpPr>
          <p:cNvPr id="9" name="Rectangle 31">
            <a:extLst>
              <a:ext uri="{FF2B5EF4-FFF2-40B4-BE49-F238E27FC236}">
                <a16:creationId xmlns:a16="http://schemas.microsoft.com/office/drawing/2014/main" id="{57913321-421D-4BF3-849C-2111B782B19D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107461" y="2962879"/>
            <a:ext cx="2420717" cy="585272"/>
          </a:xfrm>
          <a:prstGeom prst="rect">
            <a:avLst/>
          </a:prstGeom>
          <a:solidFill>
            <a:srgbClr val="748C9E"/>
          </a:solidFill>
          <a:ln w="12700">
            <a:miter lim="400000"/>
          </a:ln>
        </p:spPr>
        <p:txBody>
          <a:bodyPr lIns="35719" tIns="35719" rIns="35719" bIns="35719" anchor="ctr"/>
          <a:lstStyle/>
          <a:p>
            <a:pPr algn="ctr" defTabSz="410751" hangingPunct="0"/>
            <a:r>
              <a:rPr lang="de-CH" sz="1125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eas </a:t>
            </a:r>
            <a:r>
              <a:rPr lang="de-CH" sz="1125" b="1" dirty="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</a:t>
            </a:r>
            <a:r>
              <a:rPr lang="de-CH" sz="1125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1125" b="1" dirty="0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w</a:t>
            </a:r>
            <a:endParaRPr lang="de-CH" sz="1125" b="1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Helvetica Light"/>
            </a:endParaRPr>
          </a:p>
        </p:txBody>
      </p:sp>
      <p:sp>
        <p:nvSpPr>
          <p:cNvPr id="10" name="Rectangle 29">
            <a:extLst>
              <a:ext uri="{FF2B5EF4-FFF2-40B4-BE49-F238E27FC236}">
                <a16:creationId xmlns:a16="http://schemas.microsoft.com/office/drawing/2014/main" id="{BFF31EC1-6CA9-4256-A42D-F1D41BCE04D1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2528179" y="2977680"/>
            <a:ext cx="6476415" cy="57047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lIns="107993" tIns="45717" rIns="45717" bIns="45717" anchor="t" anchorCtr="0"/>
          <a:lstStyle/>
          <a:p>
            <a:pPr marL="189749" indent="-189749">
              <a:lnSpc>
                <a:spcPct val="150000"/>
              </a:lnSpc>
              <a:buChar char="-"/>
            </a:pPr>
            <a:r>
              <a:rPr lang="de-CH" sz="1125" dirty="0">
                <a:solidFill>
                  <a:srgbClr val="3B4A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 </a:t>
            </a:r>
            <a:r>
              <a:rPr lang="de-CH" sz="1125" dirty="0" err="1">
                <a:solidFill>
                  <a:srgbClr val="3B4A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reas</a:t>
            </a:r>
            <a:r>
              <a:rPr lang="de-CH" sz="1125" dirty="0">
                <a:solidFill>
                  <a:srgbClr val="3B4A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1125" dirty="0" err="1">
                <a:solidFill>
                  <a:srgbClr val="3B4A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</a:t>
            </a:r>
            <a:r>
              <a:rPr lang="de-CH" sz="1125" dirty="0">
                <a:solidFill>
                  <a:srgbClr val="3B4A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1125" dirty="0" err="1">
                <a:solidFill>
                  <a:srgbClr val="3B4A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ivil</a:t>
            </a:r>
            <a:r>
              <a:rPr lang="de-CH" sz="1125" dirty="0">
                <a:solidFill>
                  <a:srgbClr val="3B4A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1125" dirty="0" err="1">
                <a:solidFill>
                  <a:srgbClr val="3B4A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w</a:t>
            </a:r>
            <a:endParaRPr lang="de-CH" sz="1125" dirty="0">
              <a:solidFill>
                <a:srgbClr val="3B4A5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89749" indent="-189749">
              <a:lnSpc>
                <a:spcPct val="150000"/>
              </a:lnSpc>
              <a:buChar char="-"/>
            </a:pPr>
            <a:r>
              <a:rPr lang="de-CH" sz="1125" dirty="0">
                <a:solidFill>
                  <a:srgbClr val="3B4A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cus on </a:t>
            </a:r>
            <a:r>
              <a:rPr lang="de-CH" sz="1125" dirty="0" err="1">
                <a:solidFill>
                  <a:srgbClr val="3B4A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porate</a:t>
            </a:r>
            <a:r>
              <a:rPr lang="de-CH" sz="1125" dirty="0">
                <a:solidFill>
                  <a:srgbClr val="3B4A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 </a:t>
            </a:r>
            <a:r>
              <a:rPr lang="de-CH" sz="1125" dirty="0" err="1">
                <a:solidFill>
                  <a:srgbClr val="3B4A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mercial</a:t>
            </a:r>
            <a:r>
              <a:rPr lang="de-CH" sz="1125" dirty="0">
                <a:solidFill>
                  <a:srgbClr val="3B4A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de-CH" sz="1125" dirty="0" err="1">
                <a:solidFill>
                  <a:srgbClr val="3B4A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ergy</a:t>
            </a:r>
            <a:r>
              <a:rPr lang="de-CH" sz="1125" dirty="0">
                <a:solidFill>
                  <a:srgbClr val="3B4A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 </a:t>
            </a:r>
            <a:r>
              <a:rPr lang="de-CH" sz="1125" dirty="0" err="1">
                <a:solidFill>
                  <a:srgbClr val="3B4A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rastructure</a:t>
            </a:r>
            <a:r>
              <a:rPr lang="de-CH" sz="1125" dirty="0">
                <a:solidFill>
                  <a:srgbClr val="3B4A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IP, </a:t>
            </a:r>
            <a:r>
              <a:rPr lang="de-CH" sz="1125" dirty="0" err="1">
                <a:solidFill>
                  <a:srgbClr val="3B4A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etition</a:t>
            </a:r>
            <a:r>
              <a:rPr lang="de-CH" sz="1125" dirty="0">
                <a:solidFill>
                  <a:srgbClr val="3B4A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&amp; </a:t>
            </a:r>
            <a:r>
              <a:rPr lang="de-CH" sz="1125" dirty="0" err="1">
                <a:solidFill>
                  <a:srgbClr val="3B4A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solvency</a:t>
            </a:r>
            <a:endParaRPr lang="de-DE" sz="1125" dirty="0">
              <a:solidFill>
                <a:srgbClr val="3B4A5D"/>
              </a:solidFill>
              <a:latin typeface="Arial" panose="020B0604020202020204" pitchFamily="34" charset="0"/>
              <a:cs typeface="Arial" panose="020B0604020202020204" pitchFamily="34" charset="0"/>
              <a:sym typeface="Helvetica Light"/>
            </a:endParaRPr>
          </a:p>
        </p:txBody>
      </p:sp>
      <p:sp>
        <p:nvSpPr>
          <p:cNvPr id="11" name="Rectangle 31">
            <a:extLst>
              <a:ext uri="{FF2B5EF4-FFF2-40B4-BE49-F238E27FC236}">
                <a16:creationId xmlns:a16="http://schemas.microsoft.com/office/drawing/2014/main" id="{0DCA51E7-CBFE-46EE-B865-EBE513F850FF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107460" y="3600886"/>
            <a:ext cx="2420717" cy="1564618"/>
          </a:xfrm>
          <a:prstGeom prst="rect">
            <a:avLst/>
          </a:prstGeom>
          <a:solidFill>
            <a:srgbClr val="748C9E"/>
          </a:solidFill>
          <a:ln w="12700">
            <a:miter lim="400000"/>
          </a:ln>
        </p:spPr>
        <p:txBody>
          <a:bodyPr lIns="35719" tIns="35719" rIns="35719" bIns="35719" anchor="ctr"/>
          <a:lstStyle/>
          <a:p>
            <a:pPr algn="ctr" defTabSz="410751" hangingPunct="0"/>
            <a:r>
              <a:rPr lang="de-CH" sz="1125" b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ses fit </a:t>
            </a:r>
            <a:r>
              <a:rPr lang="de-CH" sz="1125" b="1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</a:t>
            </a:r>
            <a:r>
              <a:rPr lang="de-CH" sz="1125" b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1125" b="1" err="1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nding</a:t>
            </a:r>
            <a:endParaRPr lang="de-CH" sz="1125" b="1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  <a:sym typeface="Helvetica Light"/>
            </a:endParaRPr>
          </a:p>
        </p:txBody>
      </p:sp>
      <p:sp>
        <p:nvSpPr>
          <p:cNvPr id="12" name="Rectangle 29">
            <a:extLst>
              <a:ext uri="{FF2B5EF4-FFF2-40B4-BE49-F238E27FC236}">
                <a16:creationId xmlns:a16="http://schemas.microsoft.com/office/drawing/2014/main" id="{2948760F-4521-4C05-90BE-724E6DD9C992}"/>
              </a:ext>
            </a:extLst>
          </p:cNvPr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2528177" y="3600886"/>
            <a:ext cx="6508319" cy="156461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txBody>
          <a:bodyPr lIns="107993" tIns="45717" rIns="45717" bIns="45717" anchor="t" anchorCtr="0"/>
          <a:lstStyle/>
          <a:p>
            <a:pPr marL="189749" indent="-189749">
              <a:lnSpc>
                <a:spcPct val="150000"/>
              </a:lnSpc>
              <a:buFontTx/>
              <a:buChar char="-"/>
            </a:pPr>
            <a:r>
              <a:rPr lang="en-US" sz="1125" dirty="0">
                <a:solidFill>
                  <a:srgbClr val="3B4A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 </a:t>
            </a:r>
            <a:r>
              <a:rPr lang="de-DE" sz="1125" dirty="0" err="1">
                <a:solidFill>
                  <a:srgbClr val="3B4A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y</a:t>
            </a:r>
            <a:r>
              <a:rPr lang="de-DE" sz="1125" dirty="0">
                <a:solidFill>
                  <a:srgbClr val="3B4A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125" dirty="0" err="1">
                <a:solidFill>
                  <a:srgbClr val="3B4A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ge</a:t>
            </a:r>
            <a:r>
              <a:rPr lang="de-DE" sz="1125" dirty="0">
                <a:solidFill>
                  <a:srgbClr val="3B4A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125" dirty="0" err="1">
                <a:solidFill>
                  <a:srgbClr val="3B4A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nding</a:t>
            </a:r>
            <a:r>
              <a:rPr lang="de-DE" sz="1125" dirty="0">
                <a:solidFill>
                  <a:srgbClr val="3B4A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de-DE" sz="1125" dirty="0" err="1">
                <a:solidFill>
                  <a:srgbClr val="3B4A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vestment</a:t>
            </a:r>
            <a:r>
              <a:rPr lang="de-DE" sz="1125" dirty="0">
                <a:solidFill>
                  <a:srgbClr val="3B4A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t </a:t>
            </a:r>
            <a:r>
              <a:rPr lang="de-DE" sz="1125" dirty="0" err="1">
                <a:solidFill>
                  <a:srgbClr val="3B4A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tset</a:t>
            </a:r>
            <a:r>
              <a:rPr lang="de-DE" sz="1125" dirty="0">
                <a:solidFill>
                  <a:srgbClr val="3B4A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de-DE" sz="1125" dirty="0" err="1">
                <a:solidFill>
                  <a:srgbClr val="3B4A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uring</a:t>
            </a:r>
            <a:r>
              <a:rPr lang="de-DE" sz="1125" dirty="0">
                <a:solidFill>
                  <a:srgbClr val="3B4A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125" dirty="0" err="1">
                <a:solidFill>
                  <a:srgbClr val="3B4A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ceedings</a:t>
            </a:r>
            <a:r>
              <a:rPr lang="de-DE" sz="1125" dirty="0">
                <a:solidFill>
                  <a:srgbClr val="3B4A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125" dirty="0" err="1">
                <a:solidFill>
                  <a:srgbClr val="3B4A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</a:t>
            </a:r>
            <a:r>
              <a:rPr lang="de-DE" sz="1125" dirty="0">
                <a:solidFill>
                  <a:srgbClr val="3B4A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t </a:t>
            </a:r>
            <a:r>
              <a:rPr lang="de-DE" sz="1125" dirty="0" err="1">
                <a:solidFill>
                  <a:srgbClr val="3B4A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forcement</a:t>
            </a:r>
            <a:r>
              <a:rPr lang="de-DE" sz="1125" dirty="0">
                <a:solidFill>
                  <a:srgbClr val="3B4A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125" dirty="0" err="1">
                <a:solidFill>
                  <a:srgbClr val="3B4A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ge</a:t>
            </a:r>
            <a:r>
              <a:rPr lang="de-DE" sz="1125" dirty="0">
                <a:solidFill>
                  <a:srgbClr val="3B4A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en-US" sz="1125" dirty="0">
              <a:solidFill>
                <a:srgbClr val="3B4A5D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89749" indent="-189749">
              <a:lnSpc>
                <a:spcPct val="150000"/>
              </a:lnSpc>
              <a:buFontTx/>
              <a:buChar char="-"/>
            </a:pPr>
            <a:r>
              <a:rPr lang="en-US" sz="1125" dirty="0">
                <a:solidFill>
                  <a:srgbClr val="3B4A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ood prospects (facts and merits, overall predictability)</a:t>
            </a:r>
          </a:p>
          <a:p>
            <a:pPr marL="189749" indent="-189749">
              <a:lnSpc>
                <a:spcPct val="150000"/>
              </a:lnSpc>
              <a:buChar char="-"/>
            </a:pPr>
            <a:r>
              <a:rPr lang="de-CH" sz="1125" dirty="0">
                <a:solidFill>
                  <a:srgbClr val="3B4A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se </a:t>
            </a:r>
            <a:r>
              <a:rPr lang="de-CH" sz="1125" dirty="0" err="1">
                <a:solidFill>
                  <a:srgbClr val="3B4A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dget</a:t>
            </a:r>
            <a:r>
              <a:rPr lang="de-CH" sz="1125" dirty="0">
                <a:solidFill>
                  <a:srgbClr val="3B4A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1125" dirty="0" err="1">
                <a:solidFill>
                  <a:srgbClr val="3B4A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ould</a:t>
            </a:r>
            <a:r>
              <a:rPr lang="de-CH" sz="1125" dirty="0">
                <a:solidFill>
                  <a:srgbClr val="3B4A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t </a:t>
            </a:r>
            <a:r>
              <a:rPr lang="de-CH" sz="1125" dirty="0" err="1">
                <a:solidFill>
                  <a:srgbClr val="3B4A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ceed</a:t>
            </a:r>
            <a:r>
              <a:rPr lang="de-CH" sz="1125" dirty="0">
                <a:solidFill>
                  <a:srgbClr val="3B4A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0% </a:t>
            </a:r>
            <a:r>
              <a:rPr lang="de-CH" sz="1125" dirty="0" err="1">
                <a:solidFill>
                  <a:srgbClr val="3B4A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</a:t>
            </a:r>
            <a:r>
              <a:rPr lang="de-CH" sz="1125" dirty="0">
                <a:solidFill>
                  <a:srgbClr val="3B4A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1125" dirty="0" err="1">
                <a:solidFill>
                  <a:srgbClr val="3B4A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de-CH" sz="1125" dirty="0">
                <a:solidFill>
                  <a:srgbClr val="3B4A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1125" dirty="0" err="1">
                <a:solidFill>
                  <a:srgbClr val="3B4A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pected</a:t>
            </a:r>
            <a:r>
              <a:rPr lang="de-CH" sz="1125" dirty="0">
                <a:solidFill>
                  <a:srgbClr val="3B4A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1125" dirty="0" err="1">
                <a:solidFill>
                  <a:srgbClr val="3B4A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tigation</a:t>
            </a:r>
            <a:r>
              <a:rPr lang="de-CH" sz="1125" dirty="0">
                <a:solidFill>
                  <a:srgbClr val="3B4A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1125" dirty="0" err="1">
                <a:solidFill>
                  <a:srgbClr val="3B4A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covery</a:t>
            </a:r>
            <a:r>
              <a:rPr lang="de-CH" sz="1125" dirty="0">
                <a:solidFill>
                  <a:srgbClr val="3B4A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«1:10 </a:t>
            </a:r>
            <a:r>
              <a:rPr lang="de-CH" sz="1125" dirty="0" err="1">
                <a:solidFill>
                  <a:srgbClr val="3B4A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ule</a:t>
            </a:r>
            <a:r>
              <a:rPr lang="de-CH" sz="1125" dirty="0">
                <a:solidFill>
                  <a:srgbClr val="3B4A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)</a:t>
            </a:r>
          </a:p>
          <a:p>
            <a:pPr marL="189749" indent="-189749">
              <a:lnSpc>
                <a:spcPct val="150000"/>
              </a:lnSpc>
              <a:buChar char="-"/>
            </a:pPr>
            <a:r>
              <a:rPr lang="de-CH" sz="1125" dirty="0" err="1">
                <a:solidFill>
                  <a:srgbClr val="3B4A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forceability</a:t>
            </a:r>
            <a:r>
              <a:rPr lang="de-CH" sz="1125" dirty="0">
                <a:solidFill>
                  <a:srgbClr val="3B4A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de-CH" sz="1125" dirty="0" err="1">
                <a:solidFill>
                  <a:srgbClr val="3B4A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ent</a:t>
            </a:r>
            <a:r>
              <a:rPr lang="de-CH" sz="1125" dirty="0">
                <a:solidFill>
                  <a:srgbClr val="3B4A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CH" sz="1125" dirty="0" err="1">
                <a:solidFill>
                  <a:srgbClr val="3B4A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vency</a:t>
            </a:r>
            <a:r>
              <a:rPr lang="de-CH" sz="1125" dirty="0">
                <a:solidFill>
                  <a:srgbClr val="3B4A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de-CH" sz="1125" dirty="0" err="1">
                <a:solidFill>
                  <a:srgbClr val="3B4A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urisdiction</a:t>
            </a:r>
            <a:r>
              <a:rPr lang="de-CH" sz="1125" dirty="0">
                <a:solidFill>
                  <a:srgbClr val="3B4A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</a:p>
          <a:p>
            <a:pPr marL="189749" indent="-189749">
              <a:lnSpc>
                <a:spcPct val="150000"/>
              </a:lnSpc>
              <a:buChar char="-"/>
            </a:pPr>
            <a:r>
              <a:rPr lang="en-US" sz="1125" dirty="0">
                <a:solidFill>
                  <a:srgbClr val="3B4A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gal team</a:t>
            </a:r>
          </a:p>
          <a:p>
            <a:pPr marL="189749" indent="-189749">
              <a:lnSpc>
                <a:spcPct val="150000"/>
              </a:lnSpc>
              <a:buChar char="-"/>
            </a:pPr>
            <a:r>
              <a:rPr lang="en-US" sz="1125" dirty="0">
                <a:solidFill>
                  <a:srgbClr val="3B4A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ent</a:t>
            </a:r>
            <a:r>
              <a:rPr lang="de-DE" sz="1125" dirty="0">
                <a:solidFill>
                  <a:srgbClr val="3B4A5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258675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ytuł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vestment process</a:t>
            </a:r>
            <a:endParaRPr lang="pl-PL" dirty="0"/>
          </a:p>
        </p:txBody>
      </p:sp>
      <p:pic>
        <p:nvPicPr>
          <p:cNvPr id="23" name="Obraz 22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2666" y="914400"/>
            <a:ext cx="8141528" cy="409877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502736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23528" y="269776"/>
            <a:ext cx="8525990" cy="926976"/>
          </a:xfr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r>
              <a:rPr lang="en-US" sz="32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Registration to the ICC YAF Member List</a:t>
            </a:r>
            <a:endParaRPr lang="el-GR" sz="32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22960" y="1361319"/>
            <a:ext cx="7520940" cy="3579849"/>
          </a:xfrm>
          <a:noFill/>
          <a:ln>
            <a:noFill/>
          </a:ln>
          <a:effectLst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/>
          <a:lstStyle/>
          <a:p>
            <a:pPr>
              <a:buFont typeface="Wingdings" pitchFamily="2" charset="2"/>
              <a:buChar char="§"/>
            </a:pPr>
            <a:endParaRPr lang="en-US" dirty="0"/>
          </a:p>
          <a:p>
            <a:pPr>
              <a:buFont typeface="Wingdings" pitchFamily="2" charset="2"/>
              <a:buChar char="§"/>
            </a:pPr>
            <a:r>
              <a:rPr lang="en-US" sz="2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gistration is free and easy! </a:t>
            </a:r>
          </a:p>
          <a:p>
            <a:pPr>
              <a:buFont typeface="Wingdings" pitchFamily="2" charset="2"/>
              <a:buChar char="§"/>
            </a:pPr>
            <a:endParaRPr lang="en-US" sz="20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>
              <a:buFont typeface="Wingdings" pitchFamily="2" charset="2"/>
              <a:buChar char="§"/>
            </a:pPr>
            <a:endParaRPr lang="el-GR" dirty="0"/>
          </a:p>
        </p:txBody>
      </p:sp>
      <p:cxnSp>
        <p:nvCxnSpPr>
          <p:cNvPr id="5" name="Connecteur droit 4"/>
          <p:cNvCxnSpPr/>
          <p:nvPr/>
        </p:nvCxnSpPr>
        <p:spPr>
          <a:xfrm flipH="1">
            <a:off x="323528" y="1124744"/>
            <a:ext cx="8381974" cy="0"/>
          </a:xfrm>
          <a:prstGeom prst="line">
            <a:avLst/>
          </a:prstGeom>
          <a:ln w="1270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8994" y="2276872"/>
            <a:ext cx="7328872" cy="3803874"/>
          </a:xfrm>
          <a:prstGeom prst="rect">
            <a:avLst/>
          </a:prstGeom>
        </p:spPr>
      </p:pic>
      <p:cxnSp>
        <p:nvCxnSpPr>
          <p:cNvPr id="9" name="Straight Arrow Connector 8"/>
          <p:cNvCxnSpPr/>
          <p:nvPr/>
        </p:nvCxnSpPr>
        <p:spPr>
          <a:xfrm>
            <a:off x="179512" y="3861048"/>
            <a:ext cx="1224136" cy="1244687"/>
          </a:xfrm>
          <a:prstGeom prst="straightConnector1">
            <a:avLst/>
          </a:prstGeom>
          <a:ln w="1079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29836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95536" y="980728"/>
            <a:ext cx="8229600" cy="3672408"/>
          </a:xfrm>
          <a:noFill/>
          <a:ln>
            <a:noFill/>
          </a:ln>
          <a:effectLst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>
            <a:normAutofit fontScale="85000" lnSpcReduction="10000"/>
          </a:bodyPr>
          <a:lstStyle/>
          <a:p>
            <a:pPr marL="0" indent="0">
              <a:buNone/>
            </a:pPr>
            <a:endParaRPr lang="en-US" sz="2800" b="1" dirty="0"/>
          </a:p>
          <a:p>
            <a:pPr marL="0" indent="0">
              <a:buNone/>
            </a:pPr>
            <a:endParaRPr lang="en-US" dirty="0"/>
          </a:p>
          <a:p>
            <a:pPr marL="0" indent="0" algn="ctr">
              <a:buNone/>
            </a:pPr>
            <a:r>
              <a:rPr lang="en-US" sz="39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or more information please visit us at:  </a:t>
            </a:r>
            <a:r>
              <a:rPr lang="fr-FR" sz="39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hlinkClick r:id="rId2"/>
              </a:rPr>
              <a:t>www.iccyaf.org</a:t>
            </a:r>
            <a:endParaRPr lang="fr-FR" sz="39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</a:endParaRPr>
          </a:p>
          <a:p>
            <a:pPr marL="0" indent="0" algn="ctr">
              <a:buNone/>
            </a:pPr>
            <a:endParaRPr lang="fr-FR" sz="39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0" indent="0" algn="ctr">
              <a:buNone/>
            </a:pPr>
            <a:r>
              <a:rPr lang="fr-FR" sz="39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o </a:t>
            </a:r>
            <a:r>
              <a:rPr lang="fr-FR" sz="39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get</a:t>
            </a:r>
            <a:r>
              <a:rPr lang="fr-FR" sz="39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ICC </a:t>
            </a:r>
            <a:r>
              <a:rPr lang="fr-FR" sz="39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YAF’s</a:t>
            </a:r>
            <a:r>
              <a:rPr lang="fr-FR" sz="39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fr-FR" sz="39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latest</a:t>
            </a:r>
            <a:r>
              <a:rPr lang="fr-FR" sz="39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news </a:t>
            </a:r>
            <a:r>
              <a:rPr lang="fr-FR" sz="3900" b="1" dirty="0" err="1">
                <a:solidFill>
                  <a:schemeClr val="tx1">
                    <a:lumMod val="75000"/>
                    <a:lumOff val="25000"/>
                  </a:schemeClr>
                </a:solidFill>
              </a:rPr>
              <a:t>follow</a:t>
            </a:r>
            <a:r>
              <a:rPr lang="fr-FR" sz="39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us</a:t>
            </a:r>
            <a:r>
              <a:rPr lang="fr-FR" sz="3900" b="1" dirty="0"/>
              <a:t>: </a:t>
            </a:r>
            <a:endParaRPr lang="en-US" sz="3900" b="1" dirty="0"/>
          </a:p>
          <a:p>
            <a:pPr marL="0" indent="0" algn="ctr">
              <a:buNone/>
            </a:pPr>
            <a:r>
              <a:rPr lang="fr-FR" sz="3900" b="1" dirty="0"/>
              <a:t> </a:t>
            </a:r>
          </a:p>
        </p:txBody>
      </p:sp>
      <p:pic>
        <p:nvPicPr>
          <p:cNvPr id="6" name="Picture 5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7094" y="4221088"/>
            <a:ext cx="558842" cy="5588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6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6056" y="4221088"/>
            <a:ext cx="558842" cy="5588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7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3968" y="4221088"/>
            <a:ext cx="558842" cy="5588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51552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Dziękujemy za uwagę</a:t>
            </a:r>
            <a:endParaRPr lang="pl-PL" dirty="0"/>
          </a:p>
        </p:txBody>
      </p:sp>
      <p:sp>
        <p:nvSpPr>
          <p:cNvPr id="3" name="Symbol zastępczy zawartości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pl-PL" dirty="0" smtClean="0"/>
          </a:p>
          <a:p>
            <a:r>
              <a:rPr lang="pl-PL" dirty="0" smtClean="0"/>
              <a:t>Justyna Szpara</a:t>
            </a:r>
            <a:r>
              <a:rPr lang="pl-PL" b="0" dirty="0"/>
              <a:t>, Vice-</a:t>
            </a:r>
            <a:r>
              <a:rPr lang="pl-PL" b="0" dirty="0" err="1"/>
              <a:t>President</a:t>
            </a:r>
            <a:r>
              <a:rPr lang="pl-PL" b="0" dirty="0"/>
              <a:t>, ICC </a:t>
            </a:r>
            <a:r>
              <a:rPr lang="pl-PL" b="0" dirty="0" smtClean="0"/>
              <a:t>Poland</a:t>
            </a:r>
            <a:r>
              <a:rPr lang="pl-PL" b="0" dirty="0"/>
              <a:t>, </a:t>
            </a:r>
            <a:r>
              <a:rPr lang="pl-PL" b="0" i="1" dirty="0" smtClean="0"/>
              <a:t>Justyna.Szpara@laszczuk.pl</a:t>
            </a:r>
          </a:p>
          <a:p>
            <a:endParaRPr lang="pl-PL" b="0" dirty="0" smtClean="0"/>
          </a:p>
          <a:p>
            <a:r>
              <a:rPr lang="pl-PL" dirty="0" smtClean="0"/>
              <a:t>Patryk Kulig</a:t>
            </a:r>
            <a:r>
              <a:rPr lang="pl-PL" b="0" dirty="0" smtClean="0"/>
              <a:t>, </a:t>
            </a:r>
            <a:r>
              <a:rPr lang="en-GB" b="0" dirty="0" smtClean="0"/>
              <a:t>Case </a:t>
            </a:r>
            <a:r>
              <a:rPr lang="en-GB" b="0" dirty="0"/>
              <a:t>Manager, </a:t>
            </a:r>
            <a:r>
              <a:rPr lang="en-GB" b="0" dirty="0" err="1" smtClean="0"/>
              <a:t>Nivalion</a:t>
            </a:r>
            <a:r>
              <a:rPr lang="pl-PL" b="0" dirty="0"/>
              <a:t>, </a:t>
            </a:r>
            <a:r>
              <a:rPr lang="pl-PL" b="0" i="1" dirty="0" smtClean="0"/>
              <a:t>Patryk.Kulig@nivalion.com</a:t>
            </a:r>
            <a:endParaRPr lang="pl-PL" b="0" i="1" dirty="0"/>
          </a:p>
          <a:p>
            <a:endParaRPr lang="pl-PL" b="0" dirty="0" smtClean="0"/>
          </a:p>
          <a:p>
            <a:r>
              <a:rPr lang="pl-PL" dirty="0" smtClean="0"/>
              <a:t>Mateusz Gerlach</a:t>
            </a:r>
            <a:r>
              <a:rPr lang="pl-PL" b="0" dirty="0" smtClean="0"/>
              <a:t>, </a:t>
            </a:r>
            <a:r>
              <a:rPr lang="en-GB" b="0" dirty="0" smtClean="0"/>
              <a:t>Associate</a:t>
            </a:r>
            <a:r>
              <a:rPr lang="en-GB" b="0" dirty="0"/>
              <a:t>, CMS, </a:t>
            </a:r>
            <a:r>
              <a:rPr lang="pl-PL" b="0" i="1" dirty="0" smtClean="0"/>
              <a:t>Mateusz.Gerlach@cms-cmno.com</a:t>
            </a:r>
          </a:p>
          <a:p>
            <a:endParaRPr lang="pl-PL" b="0" dirty="0" smtClean="0"/>
          </a:p>
          <a:p>
            <a:r>
              <a:rPr lang="pl-PL" dirty="0" smtClean="0"/>
              <a:t>Natalia Jodłowska</a:t>
            </a:r>
            <a:r>
              <a:rPr lang="pl-PL" b="0" dirty="0" smtClean="0"/>
              <a:t>, ICC YAF </a:t>
            </a:r>
            <a:r>
              <a:rPr lang="pl-PL" b="0" dirty="0" err="1" smtClean="0"/>
              <a:t>Representative</a:t>
            </a:r>
            <a:r>
              <a:rPr lang="pl-PL" b="0" dirty="0" smtClean="0"/>
              <a:t>, </a:t>
            </a:r>
            <a:r>
              <a:rPr lang="pl-PL" b="0" i="1" dirty="0" smtClean="0"/>
              <a:t>natalia.jodlowska@protonmail.com</a:t>
            </a:r>
            <a:endParaRPr lang="pl-PL" b="0" i="1" dirty="0"/>
          </a:p>
        </p:txBody>
      </p:sp>
    </p:spTree>
    <p:extLst>
      <p:ext uri="{BB962C8B-B14F-4D97-AF65-F5344CB8AC3E}">
        <p14:creationId xmlns:p14="http://schemas.microsoft.com/office/powerpoint/2010/main" val="123022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536" y="116632"/>
            <a:ext cx="8568952" cy="1143000"/>
          </a:xfr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/>
          <a:lstStyle/>
          <a:p>
            <a:r>
              <a:rPr lang="pl-PL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Regulamin Arbitrażowy ICC </a:t>
            </a:r>
            <a:r>
              <a:rPr lang="pl-PL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2021: </a:t>
            </a:r>
            <a:br>
              <a:rPr lang="pl-PL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pl-PL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Co </a:t>
            </a:r>
            <a:r>
              <a:rPr lang="pl-PL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Nowego?</a:t>
            </a:r>
            <a:endParaRPr lang="el-GR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noFill/>
          <a:ln>
            <a:noFill/>
          </a:ln>
          <a:effectLst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>
            <a:normAutofit lnSpcReduction="10000"/>
          </a:bodyPr>
          <a:lstStyle/>
          <a:p>
            <a:pPr>
              <a:buFont typeface="Wingdings" pitchFamily="2" charset="2"/>
              <a:buChar char="§"/>
            </a:pPr>
            <a:endParaRPr lang="en-US" sz="2800" b="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>
              <a:buFont typeface="Wingdings" pitchFamily="2" charset="2"/>
              <a:buChar char="§"/>
            </a:pPr>
            <a:r>
              <a:rPr lang="pl-PL" sz="2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GÓLNA EFEKTYWNOŚĆ</a:t>
            </a:r>
            <a:br>
              <a:rPr lang="pl-PL" sz="2600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endParaRPr lang="pl-PL" sz="2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>
              <a:buFont typeface="Wingdings" pitchFamily="2" charset="2"/>
              <a:buChar char="§"/>
            </a:pPr>
            <a:r>
              <a:rPr lang="pl-PL" sz="2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ZŁOŻONE POSTĘPOWANIA ARBITRAŻOWE</a:t>
            </a:r>
            <a:br>
              <a:rPr lang="pl-PL" sz="2600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endParaRPr lang="en-US" sz="2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>
              <a:buFont typeface="Wingdings" pitchFamily="2" charset="2"/>
              <a:buChar char="§"/>
            </a:pPr>
            <a:r>
              <a:rPr lang="pl-PL" sz="2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OSTĘPOWANIE ARBITRAŻOWE</a:t>
            </a:r>
            <a:br>
              <a:rPr lang="pl-PL" sz="2600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endParaRPr lang="pl-PL" sz="2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>
              <a:buFont typeface="Wingdings" pitchFamily="2" charset="2"/>
              <a:buChar char="§"/>
            </a:pPr>
            <a:r>
              <a:rPr lang="pl-PL" sz="2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RANSPARENTNOŚĆ</a:t>
            </a:r>
            <a:endParaRPr lang="el-GR" sz="26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5" name="Connecteur droit 4"/>
          <p:cNvCxnSpPr/>
          <p:nvPr/>
        </p:nvCxnSpPr>
        <p:spPr>
          <a:xfrm flipH="1">
            <a:off x="395536" y="1276799"/>
            <a:ext cx="8381974" cy="0"/>
          </a:xfrm>
          <a:prstGeom prst="line">
            <a:avLst/>
          </a:prstGeom>
          <a:ln w="12700">
            <a:solidFill>
              <a:schemeClr val="accent6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36183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ymbol zastępczy zawartości 3">
            <a:extLst>
              <a:ext uri="{FF2B5EF4-FFF2-40B4-BE49-F238E27FC236}">
                <a16:creationId xmlns:a16="http://schemas.microsoft.com/office/drawing/2014/main" id="{6E89FF6D-2795-4CAF-844B-4CDFE6D234D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55576" y="1196752"/>
            <a:ext cx="2160240" cy="3168352"/>
          </a:xfrm>
        </p:spPr>
        <p:txBody>
          <a:bodyPr>
            <a:noAutofit/>
          </a:bodyPr>
          <a:lstStyle/>
          <a:p>
            <a:r>
              <a:rPr lang="pl-PL" sz="2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zersze</a:t>
            </a:r>
          </a:p>
          <a:p>
            <a:r>
              <a:rPr lang="pl-PL" sz="2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wykorzystanie</a:t>
            </a:r>
          </a:p>
          <a:p>
            <a:r>
              <a:rPr lang="pl-PL" sz="2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echnologii</a:t>
            </a:r>
          </a:p>
        </p:txBody>
      </p:sp>
      <p:sp>
        <p:nvSpPr>
          <p:cNvPr id="5" name="Symbol zastępczy zawartości 4">
            <a:extLst>
              <a:ext uri="{FF2B5EF4-FFF2-40B4-BE49-F238E27FC236}">
                <a16:creationId xmlns:a16="http://schemas.microsoft.com/office/drawing/2014/main" id="{35D22C22-527F-4056-ADB7-DD023BD2DB2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275856" y="1196752"/>
            <a:ext cx="5616624" cy="3712464"/>
          </a:xfrm>
        </p:spPr>
        <p:txBody>
          <a:bodyPr>
            <a:normAutofit/>
          </a:bodyPr>
          <a:lstStyle/>
          <a:p>
            <a:pPr marL="457200" indent="-457200">
              <a:buFont typeface="Wingdings" panose="05000000000000000000" pitchFamily="2" charset="2"/>
              <a:buChar char="§"/>
            </a:pPr>
            <a:r>
              <a:rPr lang="pl-PL" sz="2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Kopie elektroniczne zamiast papierowych </a:t>
            </a:r>
            <a:r>
              <a:rPr lang="pl-PL" sz="19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(</a:t>
            </a:r>
            <a:r>
              <a:rPr lang="pl-PL" sz="19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rtykuły 4 i 5) </a:t>
            </a:r>
          </a:p>
          <a:p>
            <a:pPr marL="0" indent="0"/>
            <a:r>
              <a:rPr lang="pl-PL" sz="2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pl-PL" sz="2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Zdalne lub hybrydowe rozprawy</a:t>
            </a:r>
            <a:br>
              <a:rPr lang="pl-PL" sz="2200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pl-PL" sz="2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(Artykuły 25 i 26 Regulaminu;</a:t>
            </a:r>
            <a:br>
              <a:rPr lang="pl-PL" sz="2200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pl-PL" sz="2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rtykuł 3 Załącznika VI)</a:t>
            </a:r>
          </a:p>
          <a:p>
            <a:pPr marL="0" indent="0"/>
            <a:endParaRPr lang="pl-PL" dirty="0"/>
          </a:p>
          <a:p>
            <a:pPr marL="0" indent="0"/>
            <a:r>
              <a:rPr lang="pl-PL" dirty="0"/>
              <a:t> </a:t>
            </a:r>
          </a:p>
          <a:p>
            <a:pPr marL="457200" indent="-457200">
              <a:buFont typeface="Wingdings" panose="05000000000000000000" pitchFamily="2" charset="2"/>
              <a:buChar char="§"/>
            </a:pPr>
            <a:endParaRPr lang="pl-PL" dirty="0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F233D177-C5EE-4207-9531-8CD018D370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>
                <a:solidFill>
                  <a:schemeClr val="tx1">
                    <a:lumMod val="75000"/>
                    <a:lumOff val="25000"/>
                  </a:schemeClr>
                </a:solidFill>
              </a:rPr>
              <a:t>OGÓLNA EFEKTYWNOŚĆ</a:t>
            </a:r>
          </a:p>
        </p:txBody>
      </p:sp>
    </p:spTree>
    <p:extLst>
      <p:ext uri="{BB962C8B-B14F-4D97-AF65-F5344CB8AC3E}">
        <p14:creationId xmlns:p14="http://schemas.microsoft.com/office/powerpoint/2010/main" val="764935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ytuł 3">
            <a:extLst>
              <a:ext uri="{FF2B5EF4-FFF2-40B4-BE49-F238E27FC236}">
                <a16:creationId xmlns:a16="http://schemas.microsoft.com/office/drawing/2014/main" id="{EC3EA7AF-24EA-49BF-8738-C98144880F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>
                <a:solidFill>
                  <a:schemeClr val="tx1">
                    <a:lumMod val="75000"/>
                    <a:lumOff val="25000"/>
                  </a:schemeClr>
                </a:solidFill>
              </a:rPr>
              <a:t>Złożone Postępowania Arbitrażowe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1551015D-5164-4C08-9855-7A95400F0B96}"/>
              </a:ext>
            </a:extLst>
          </p:cNvPr>
          <p:cNvSpPr txBox="1">
            <a:spLocks/>
          </p:cNvSpPr>
          <p:nvPr/>
        </p:nvSpPr>
        <p:spPr>
          <a:xfrm>
            <a:off x="822960" y="914400"/>
            <a:ext cx="7520940" cy="3579849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vert="horz" lIns="91440" tIns="45720" rIns="91440" bIns="45720" rtlCol="0">
            <a:normAutofit fontScale="92500" lnSpcReduction="10000"/>
          </a:bodyPr>
          <a:lstStyle>
            <a:lvl1pPr marL="342900" indent="-342900" algn="l" defTabSz="914400" rtl="0" eaLnBrk="1" latinLnBrk="0" hangingPunct="1">
              <a:spcBef>
                <a:spcPts val="800"/>
              </a:spcBef>
              <a:buFont typeface="Arial" pitchFamily="34" charset="0"/>
              <a:buNone/>
              <a:defRPr sz="1600" b="1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173736" indent="-173736" algn="l" defTabSz="914400" rtl="0" eaLnBrk="1" latinLnBrk="0" hangingPunct="1"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§"/>
              <a:defRPr sz="16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402336" indent="-164592" algn="l" defTabSz="914400" rtl="0" eaLnBrk="1" latinLnBrk="0" hangingPunct="1"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§"/>
              <a:defRPr sz="16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630936" indent="-164592" algn="l" defTabSz="914400" rtl="0" eaLnBrk="1" latinLnBrk="0" hangingPunct="1"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§"/>
              <a:defRPr sz="16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859536" indent="-173736" algn="l" defTabSz="914400" rtl="0" eaLnBrk="1" latinLnBrk="0" hangingPunct="1"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§"/>
              <a:defRPr sz="16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1097280" indent="-173736" algn="l" defTabSz="914400" rtl="0" eaLnBrk="1" latinLnBrk="0" hangingPunct="1"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§"/>
              <a:defRPr sz="1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1353312" indent="-164592" algn="l" defTabSz="914400" rtl="0" eaLnBrk="1" latinLnBrk="0" hangingPunct="1"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§"/>
              <a:defRPr sz="1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1581912" indent="-164592" algn="l" defTabSz="914400" rtl="0" eaLnBrk="1" latinLnBrk="0" hangingPunct="1"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§"/>
              <a:defRPr sz="1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1792224" indent="-164592" algn="l" defTabSz="914400" rtl="0" eaLnBrk="1" latinLnBrk="0" hangingPunct="1">
              <a:spcBef>
                <a:spcPts val="300"/>
              </a:spcBef>
              <a:buClr>
                <a:schemeClr val="accent2"/>
              </a:buClr>
              <a:buFont typeface="Wingdings" pitchFamily="2" charset="2"/>
              <a:buChar char="§"/>
              <a:defRPr sz="14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buFont typeface="Wingdings" pitchFamily="2" charset="2"/>
              <a:buChar char="§"/>
            </a:pPr>
            <a:endParaRPr lang="en-US" sz="2800" b="0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algn="just">
              <a:buFont typeface="Wingdings" pitchFamily="2" charset="2"/>
              <a:buChar char="§"/>
            </a:pPr>
            <a:r>
              <a:rPr lang="pl-PL" sz="2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rzyłączenie dodatkowych stron po zatwierdzeniu lub powołaniu arbitra (Artykuł 7(5))</a:t>
            </a:r>
          </a:p>
          <a:p>
            <a:pPr algn="just">
              <a:buFont typeface="Wingdings" pitchFamily="2" charset="2"/>
              <a:buChar char="§"/>
            </a:pPr>
            <a:r>
              <a:rPr lang="pl-PL" sz="2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Łączenie postępowań dla zaoszczędzenia czasu</a:t>
            </a:r>
            <a:br>
              <a:rPr lang="pl-PL" sz="2600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pl-PL" sz="2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 kosztów (Artykuł 10(b))</a:t>
            </a:r>
          </a:p>
          <a:p>
            <a:pPr algn="just">
              <a:buFont typeface="Wingdings" pitchFamily="2" charset="2"/>
              <a:buChar char="§"/>
            </a:pPr>
            <a:r>
              <a:rPr lang="pl-PL" sz="2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owoływanie wszystkich członków trybunału arbitrażowego wobec naruszenia przez klauzulę arbitrażową równości stron (Artykuł 12(9)) </a:t>
            </a:r>
          </a:p>
        </p:txBody>
      </p:sp>
    </p:spTree>
    <p:extLst>
      <p:ext uri="{BB962C8B-B14F-4D97-AF65-F5344CB8AC3E}">
        <p14:creationId xmlns:p14="http://schemas.microsoft.com/office/powerpoint/2010/main" val="963006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ymbol zastępczy zawartości 3">
            <a:extLst>
              <a:ext uri="{FF2B5EF4-FFF2-40B4-BE49-F238E27FC236}">
                <a16:creationId xmlns:a16="http://schemas.microsoft.com/office/drawing/2014/main" id="{6E89FF6D-2795-4CAF-844B-4CDFE6D234D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22960" y="1097280"/>
            <a:ext cx="2164864" cy="2259712"/>
          </a:xfrm>
        </p:spPr>
        <p:txBody>
          <a:bodyPr>
            <a:noAutofit/>
          </a:bodyPr>
          <a:lstStyle/>
          <a:p>
            <a:r>
              <a:rPr lang="pl-PL" sz="2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Efektywność</a:t>
            </a:r>
          </a:p>
          <a:p>
            <a:r>
              <a:rPr lang="pl-PL" sz="2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ostępowania</a:t>
            </a:r>
          </a:p>
        </p:txBody>
      </p:sp>
      <p:sp>
        <p:nvSpPr>
          <p:cNvPr id="5" name="Symbol zastępczy zawartości 4">
            <a:extLst>
              <a:ext uri="{FF2B5EF4-FFF2-40B4-BE49-F238E27FC236}">
                <a16:creationId xmlns:a16="http://schemas.microsoft.com/office/drawing/2014/main" id="{35D22C22-527F-4056-ADB7-DD023BD2DB2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203848" y="1097280"/>
            <a:ext cx="5328592" cy="3712464"/>
          </a:xfrm>
        </p:spPr>
        <p:txBody>
          <a:bodyPr>
            <a:normAutofit fontScale="92500" lnSpcReduction="10000"/>
          </a:bodyPr>
          <a:lstStyle/>
          <a:p>
            <a:pPr marL="457200" indent="-457200">
              <a:buFont typeface="Wingdings" panose="05000000000000000000" pitchFamily="2" charset="2"/>
              <a:buChar char="§"/>
            </a:pPr>
            <a:r>
              <a:rPr lang="pl-PL" sz="2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rzyspieszona procedura dla wszystkich spraw do 3.000.000 </a:t>
            </a:r>
            <a:r>
              <a:rPr lang="pl-PL" sz="2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USD (</a:t>
            </a:r>
            <a:r>
              <a:rPr lang="pl-PL" sz="2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rtykuł 1(2) Załącznika VI) </a:t>
            </a:r>
          </a:p>
          <a:p>
            <a:pPr marL="0" indent="0"/>
            <a:r>
              <a:rPr lang="pl-PL" sz="2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pl-PL" sz="2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Złagodzenie wymogów dla wniosku </a:t>
            </a:r>
            <a:r>
              <a:rPr lang="pl-PL" sz="2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dotyczącego </a:t>
            </a:r>
            <a:r>
              <a:rPr lang="pl-PL" sz="2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ostępowania przed Arbitrem </a:t>
            </a:r>
            <a:r>
              <a:rPr lang="pl-PL" sz="2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Doraźnym</a:t>
            </a:r>
            <a:r>
              <a:rPr lang="pl-PL" sz="2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pl-PL" sz="2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(Artykuł </a:t>
            </a:r>
            <a:r>
              <a:rPr lang="pl-PL" sz="26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29.6.(c))</a:t>
            </a:r>
            <a:endParaRPr lang="pl-PL" sz="2600" dirty="0"/>
          </a:p>
          <a:p>
            <a:pPr marL="0" indent="0"/>
            <a:r>
              <a:rPr lang="pl-PL" dirty="0"/>
              <a:t> </a:t>
            </a:r>
          </a:p>
          <a:p>
            <a:pPr marL="457200" indent="-457200">
              <a:buFont typeface="Wingdings" panose="05000000000000000000" pitchFamily="2" charset="2"/>
              <a:buChar char="§"/>
            </a:pPr>
            <a:endParaRPr lang="pl-PL" dirty="0"/>
          </a:p>
        </p:txBody>
      </p:sp>
      <p:sp>
        <p:nvSpPr>
          <p:cNvPr id="2" name="Tytuł 1">
            <a:extLst>
              <a:ext uri="{FF2B5EF4-FFF2-40B4-BE49-F238E27FC236}">
                <a16:creationId xmlns:a16="http://schemas.microsoft.com/office/drawing/2014/main" id="{F233D177-C5EE-4207-9531-8CD018D370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ostępowanie Arbitrażowe </a:t>
            </a:r>
          </a:p>
        </p:txBody>
      </p:sp>
    </p:spTree>
    <p:extLst>
      <p:ext uri="{BB962C8B-B14F-4D97-AF65-F5344CB8AC3E}">
        <p14:creationId xmlns:p14="http://schemas.microsoft.com/office/powerpoint/2010/main" val="2058448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ymbol zastępczy zawartości 3">
            <a:extLst>
              <a:ext uri="{FF2B5EF4-FFF2-40B4-BE49-F238E27FC236}">
                <a16:creationId xmlns:a16="http://schemas.microsoft.com/office/drawing/2014/main" id="{6E89FF6D-2795-4CAF-844B-4CDFE6D234D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67544" y="1097280"/>
            <a:ext cx="2304256" cy="1251600"/>
          </a:xfrm>
        </p:spPr>
        <p:txBody>
          <a:bodyPr>
            <a:noAutofit/>
          </a:bodyPr>
          <a:lstStyle/>
          <a:p>
            <a:r>
              <a:rPr lang="pl-PL" sz="2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Postępowanie</a:t>
            </a:r>
          </a:p>
          <a:p>
            <a:r>
              <a:rPr lang="pl-PL" sz="2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rbitrażowe</a:t>
            </a:r>
          </a:p>
        </p:txBody>
      </p:sp>
      <p:sp>
        <p:nvSpPr>
          <p:cNvPr id="5" name="Symbol zastępczy zawartości 4">
            <a:extLst>
              <a:ext uri="{FF2B5EF4-FFF2-40B4-BE49-F238E27FC236}">
                <a16:creationId xmlns:a16="http://schemas.microsoft.com/office/drawing/2014/main" id="{35D22C22-527F-4056-ADB7-DD023BD2DB2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3127216" y="1097280"/>
            <a:ext cx="5405224" cy="3915896"/>
          </a:xfrm>
        </p:spPr>
        <p:txBody>
          <a:bodyPr>
            <a:normAutofit fontScale="32500" lnSpcReduction="20000"/>
          </a:bodyPr>
          <a:lstStyle/>
          <a:p>
            <a:pPr marL="457200" indent="-457200">
              <a:buFont typeface="Wingdings" panose="05000000000000000000" pitchFamily="2" charset="2"/>
              <a:buChar char="§"/>
            </a:pPr>
            <a:r>
              <a:rPr lang="pl-PL" sz="65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rybunał może wyłączyć </a:t>
            </a:r>
            <a:r>
              <a:rPr lang="pl-PL" sz="65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pełnomocnika </a:t>
            </a:r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pl-PL" sz="60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(</a:t>
            </a:r>
            <a:r>
              <a:rPr lang="pl-PL" sz="6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rtykuł 17)</a:t>
            </a:r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pl-PL" sz="65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trony zobowiązane do ujawnienia porozumień dotyczących finansowania postępowania</a:t>
            </a:r>
            <a:r>
              <a:rPr lang="pl-PL" sz="55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/>
            </a:r>
            <a:br>
              <a:rPr lang="pl-PL" sz="5500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pl-PL" sz="6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(Artykuł 11(7))</a:t>
            </a:r>
          </a:p>
          <a:p>
            <a:pPr marL="457200" indent="-457200">
              <a:buFont typeface="Wingdings" panose="05000000000000000000" pitchFamily="2" charset="2"/>
              <a:buChar char="§"/>
            </a:pPr>
            <a:r>
              <a:rPr lang="pl-PL" sz="65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rybunał zachęca strony do ugodowego zakończenia sporu lub podjęcia mediacji</a:t>
            </a:r>
            <a:br>
              <a:rPr lang="pl-PL" sz="6500" dirty="0">
                <a:solidFill>
                  <a:schemeClr val="tx1">
                    <a:lumMod val="75000"/>
                    <a:lumOff val="25000"/>
                  </a:schemeClr>
                </a:solidFill>
              </a:rPr>
            </a:br>
            <a:r>
              <a:rPr lang="pl-PL" sz="60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(Załącznik IV, ust. (h)(i)) </a:t>
            </a:r>
            <a:endParaRPr lang="pl-PL" sz="6000" dirty="0"/>
          </a:p>
          <a:p>
            <a:pPr marL="457200" indent="-457200">
              <a:buFont typeface="Wingdings" panose="05000000000000000000" pitchFamily="2" charset="2"/>
              <a:buChar char="§"/>
            </a:pPr>
            <a:endParaRPr lang="pl-PL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EFD0598E-1C57-4C58-AB61-A2DE5B381B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544" y="0"/>
            <a:ext cx="8568952" cy="1143000"/>
          </a:xfr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/>
          <a:lstStyle/>
          <a:p>
            <a:r>
              <a:rPr lang="pl-PL" b="1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Regulamin Arbitrażowy ICC 2021 : Co Nowego?</a:t>
            </a:r>
            <a:endParaRPr lang="el-GR" b="1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487557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EFD0598E-1C57-4C58-AB61-A2DE5B381B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3568" y="365760"/>
            <a:ext cx="8460432" cy="548640"/>
          </a:xfr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/>
          <a:lstStyle/>
          <a:p>
            <a:r>
              <a:rPr lang="pl-PL" sz="2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rtykuł 17: </a:t>
            </a:r>
            <a:r>
              <a:rPr lang="pl-PL" sz="2200" b="1" strike="sngStrike" dirty="0">
                <a:solidFill>
                  <a:schemeClr val="tx1">
                    <a:lumMod val="75000"/>
                    <a:lumOff val="25000"/>
                  </a:schemeClr>
                </a:solidFill>
              </a:rPr>
              <a:t>Wykazanie UMOCOWANIA </a:t>
            </a:r>
            <a:r>
              <a:rPr lang="pl-PL" sz="2200" b="1" u="sng" dirty="0">
                <a:solidFill>
                  <a:srgbClr val="FF0000"/>
                </a:solidFill>
              </a:rPr>
              <a:t>Zastępstwo Procesowe</a:t>
            </a:r>
            <a:endParaRPr lang="el-GR" sz="2200" b="1" strike="sngStrike" dirty="0">
              <a:solidFill>
                <a:srgbClr val="FF0000"/>
              </a:solidFill>
            </a:endParaRPr>
          </a:p>
        </p:txBody>
      </p:sp>
      <p:sp>
        <p:nvSpPr>
          <p:cNvPr id="4" name="Symbol zastępczy zawartości 3">
            <a:extLst>
              <a:ext uri="{FF2B5EF4-FFF2-40B4-BE49-F238E27FC236}">
                <a16:creationId xmlns:a16="http://schemas.microsoft.com/office/drawing/2014/main" id="{6E89FF6D-2795-4CAF-844B-4CDFE6D234D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22960" y="1100628"/>
            <a:ext cx="7520940" cy="3768532"/>
          </a:xfrm>
        </p:spPr>
        <p:txBody>
          <a:bodyPr>
            <a:noAutofit/>
          </a:bodyPr>
          <a:lstStyle/>
          <a:p>
            <a:r>
              <a:rPr lang="pl-PL" sz="1800" u="heavy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odany ust. 1</a:t>
            </a:r>
          </a:p>
          <a:p>
            <a:r>
              <a:rPr lang="pl-PL" sz="1800" b="0" dirty="0">
                <a:solidFill>
                  <a:srgbClr val="FF0000"/>
                </a:solidFill>
              </a:rPr>
              <a:t>	Każda ze stron jest obowiązana niezwłocznie powiadomić Sekretariat, trybunał arbitrażowy i pozostałe strony o każdej zmianie w zakresie jej zastępstwa procesowego. </a:t>
            </a:r>
          </a:p>
          <a:p>
            <a:r>
              <a:rPr lang="pl-PL" sz="1800" u="heavy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odany ust. 2</a:t>
            </a:r>
          </a:p>
          <a:p>
            <a:pPr algn="just"/>
            <a:r>
              <a:rPr lang="pl-PL" sz="1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	</a:t>
            </a:r>
            <a:r>
              <a:rPr lang="pl-PL" sz="1800" b="0" dirty="0">
                <a:solidFill>
                  <a:srgbClr val="FF0000"/>
                </a:solidFill>
              </a:rPr>
              <a:t>Trybunał arbitrażowy może, po ukonstytuowaniu oraz po umożliwieniu stronom zajęcia stanowisk na piśmie w odpowiednim terminie, podjąć kroki niezbędne do uniknięcia po stronie arbitra konfliktu interesów wynikającego ze zmiany w zakresie zastępstwa procesowego strony, w tym może wykluczyć nowego pełnomocnika strony z uczestnictwa w całym postępowaniu arbitrażowym lub jego części. </a:t>
            </a:r>
          </a:p>
          <a:p>
            <a:endParaRPr lang="pl-PL" sz="22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3124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EFD0598E-1C57-4C58-AB61-A2DE5B381B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5536" y="0"/>
            <a:ext cx="8568952" cy="1143000"/>
          </a:xfr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/>
          <a:lstStyle/>
          <a:p>
            <a:r>
              <a:rPr lang="pl-PL" sz="22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rtykuł 11 – Postanowienia ogólne </a:t>
            </a:r>
            <a:endParaRPr lang="el-GR" sz="22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" name="Symbol zastępczy zawartości 3">
            <a:extLst>
              <a:ext uri="{FF2B5EF4-FFF2-40B4-BE49-F238E27FC236}">
                <a16:creationId xmlns:a16="http://schemas.microsoft.com/office/drawing/2014/main" id="{CBC51D82-D000-46E1-ABF8-CA0266943A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22960" y="1100628"/>
            <a:ext cx="7520940" cy="3768532"/>
          </a:xfrm>
        </p:spPr>
        <p:txBody>
          <a:bodyPr>
            <a:noAutofit/>
          </a:bodyPr>
          <a:lstStyle/>
          <a:p>
            <a:r>
              <a:rPr lang="pl-PL" sz="1800" u="heavy" dirty="0">
                <a:solidFill>
                  <a:schemeClr val="tx1">
                    <a:lumMod val="75000"/>
                    <a:lumOff val="25000"/>
                  </a:schemeClr>
                </a:solidFill>
              </a:rPr>
              <a:t>Dodany ust. 7</a:t>
            </a:r>
            <a:endParaRPr lang="pl-PL" sz="1800" b="0" u="heavy" dirty="0">
              <a:solidFill>
                <a:srgbClr val="FF0000"/>
              </a:solidFill>
            </a:endParaRPr>
          </a:p>
          <a:p>
            <a:pPr algn="just"/>
            <a:r>
              <a:rPr lang="pl-PL" sz="1800" b="0" dirty="0">
                <a:solidFill>
                  <a:srgbClr val="FF0000"/>
                </a:solidFill>
              </a:rPr>
              <a:t>	W celu wsparcia przyszłych arbitrów oraz arbitrów w wykonaniu obowiązków określonych w art. 11(2) i 11(3), każda ze stron musi bezzwłocznie powiadomić Sekretariat, trybunał arbitrażowy oraz inne strony, o istnieniu i tożsamości każdego podmiotu niebędącego stroną, który zawarł umowę dotyczącą finansowania dochodzenia roszczeń lub prowadzenia obrony w danym arbitrażu, i który na podstawie tej umowy ma interes ekonomiczny w odniesieniu do wyniku postępowania. </a:t>
            </a:r>
            <a:endParaRPr lang="pl-PL" sz="2200" b="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3090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ytuł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dded value of litigation finance</a:t>
            </a:r>
            <a:endParaRPr lang="pl-PL" dirty="0"/>
          </a:p>
        </p:txBody>
      </p:sp>
      <p:sp>
        <p:nvSpPr>
          <p:cNvPr id="11" name="Rectangle 31">
            <a:extLst>
              <a:ext uri="{FF2B5EF4-FFF2-40B4-BE49-F238E27FC236}">
                <a16:creationId xmlns:a16="http://schemas.microsoft.com/office/drawing/2014/main" id="{47D0D442-22BC-4ECD-8AB4-D5CE0560279A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655637" y="965093"/>
            <a:ext cx="1596274" cy="1079307"/>
          </a:xfrm>
          <a:prstGeom prst="rect">
            <a:avLst/>
          </a:prstGeom>
          <a:solidFill>
            <a:srgbClr val="748C9E"/>
          </a:solidFill>
          <a:ln w="12700">
            <a:miter lim="400000"/>
          </a:ln>
        </p:spPr>
        <p:txBody>
          <a:bodyPr lIns="35719" tIns="35719" rIns="35719" bIns="35719" anchor="ctr"/>
          <a:lstStyle/>
          <a:p>
            <a:pPr marL="0" marR="0" lvl="0" indent="0" algn="ctr" defTabSz="41075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25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Light"/>
              </a:rPr>
              <a:t>In </a:t>
            </a:r>
            <a:r>
              <a:rPr kumimoji="0" lang="de-CH" sz="1125" b="1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Helvetica Light"/>
              </a:rPr>
              <a:t>general</a:t>
            </a:r>
            <a:endParaRPr kumimoji="0" lang="de-CH" sz="1125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Helvetica Light"/>
            </a:endParaRPr>
          </a:p>
        </p:txBody>
      </p:sp>
      <p:sp>
        <p:nvSpPr>
          <p:cNvPr id="12" name="Rectangle 29">
            <a:extLst>
              <a:ext uri="{FF2B5EF4-FFF2-40B4-BE49-F238E27FC236}">
                <a16:creationId xmlns:a16="http://schemas.microsoft.com/office/drawing/2014/main" id="{F92BA596-E2AB-4C11-B6BC-124EC4025035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624070" y="994302"/>
            <a:ext cx="5904656" cy="1079307"/>
          </a:xfrm>
          <a:prstGeom prst="rect">
            <a:avLst/>
          </a:prstGeom>
          <a:solidFill>
            <a:srgbClr val="DFDEE1"/>
          </a:solidFill>
          <a:ln>
            <a:noFill/>
          </a:ln>
        </p:spPr>
        <p:txBody>
          <a:bodyPr lIns="107993" tIns="45717" rIns="45717" bIns="45717" anchor="t" anchorCtr="0"/>
          <a:lstStyle/>
          <a:p>
            <a:pPr marL="200911" marR="0" lvl="0" indent="-200911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75000"/>
              <a:buFont typeface="Symbol" panose="05050102010706020507" pitchFamily="18" charset="2"/>
              <a:buChar char="-"/>
              <a:tabLst/>
              <a:defRPr/>
            </a:pPr>
            <a:r>
              <a:rPr kumimoji="0" lang="en-US" sz="1125" b="0" i="0" u="none" strike="noStrike" kern="1200" cap="none" spc="0" normalizeH="0" baseline="0" noProof="0" dirty="0">
                <a:ln>
                  <a:noFill/>
                </a:ln>
                <a:solidFill>
                  <a:srgbClr val="374A5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hifting the entire </a:t>
            </a:r>
            <a:r>
              <a:rPr kumimoji="0" lang="en-US" sz="1125" b="1" i="0" u="none" strike="noStrike" kern="1200" cap="none" spc="0" normalizeH="0" baseline="0" noProof="0" dirty="0">
                <a:ln>
                  <a:noFill/>
                </a:ln>
                <a:solidFill>
                  <a:srgbClr val="374A5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inancial litigation risk </a:t>
            </a:r>
            <a:r>
              <a:rPr kumimoji="0" lang="en-US" sz="1125" b="0" i="0" u="none" strike="noStrike" kern="1200" cap="none" spc="0" normalizeH="0" baseline="0" noProof="0" dirty="0">
                <a:ln>
                  <a:noFill/>
                </a:ln>
                <a:solidFill>
                  <a:srgbClr val="374A5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rom the client to the funder</a:t>
            </a:r>
          </a:p>
          <a:p>
            <a:pPr marL="200911" marR="0" lvl="0" indent="-200911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75000"/>
              <a:buFont typeface="Symbol" panose="05050102010706020507" pitchFamily="18" charset="2"/>
              <a:buChar char="-"/>
              <a:tabLst/>
              <a:defRPr/>
            </a:pPr>
            <a:r>
              <a:rPr kumimoji="0" lang="en-US" sz="1125" b="1" i="0" u="none" strike="noStrike" kern="1200" cap="none" spc="0" normalizeH="0" baseline="0" noProof="0" dirty="0">
                <a:ln>
                  <a:noFill/>
                </a:ln>
                <a:solidFill>
                  <a:srgbClr val="374A5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dependent assessment </a:t>
            </a:r>
            <a:r>
              <a:rPr kumimoji="0" lang="en-US" sz="1125" b="0" i="0" u="none" strike="noStrike" kern="1200" cap="none" spc="0" normalizeH="0" baseline="0" noProof="0" dirty="0">
                <a:ln>
                  <a:noFill/>
                </a:ln>
                <a:solidFill>
                  <a:srgbClr val="374A5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f legal &amp; commercial merits </a:t>
            </a:r>
          </a:p>
          <a:p>
            <a:pPr marL="200911" marR="0" lvl="0" indent="-200911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75000"/>
              <a:buFont typeface="Symbol" panose="05050102010706020507" pitchFamily="18" charset="2"/>
              <a:buChar char="-"/>
              <a:tabLst/>
              <a:defRPr/>
            </a:pPr>
            <a:r>
              <a:rPr kumimoji="0" lang="en-US" sz="1125" b="0" i="0" u="none" strike="noStrike" kern="1200" cap="none" spc="0" normalizeH="0" baseline="0" noProof="0" dirty="0">
                <a:ln>
                  <a:noFill/>
                </a:ln>
                <a:solidFill>
                  <a:srgbClr val="374A5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tentially </a:t>
            </a:r>
            <a:r>
              <a:rPr kumimoji="0" lang="en-US" sz="1125" b="1" i="0" u="none" strike="noStrike" kern="1200" cap="none" spc="0" normalizeH="0" baseline="0" noProof="0" dirty="0">
                <a:ln>
                  <a:noFill/>
                </a:ln>
                <a:solidFill>
                  <a:srgbClr val="374A5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mproved settlement prospects </a:t>
            </a:r>
            <a:r>
              <a:rPr kumimoji="0" lang="en-US" sz="1125" b="0" i="0" u="none" strike="noStrike" kern="1200" cap="none" spc="0" normalizeH="0" baseline="0" noProof="0" dirty="0">
                <a:ln>
                  <a:noFill/>
                </a:ln>
                <a:solidFill>
                  <a:srgbClr val="374A5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ue to financial strength</a:t>
            </a:r>
            <a:endParaRPr kumimoji="0" lang="de-CH" sz="1125" b="0" i="0" u="none" strike="noStrike" kern="1200" cap="none" spc="0" normalizeH="0" baseline="0" noProof="0" dirty="0">
              <a:ln>
                <a:noFill/>
              </a:ln>
              <a:solidFill>
                <a:srgbClr val="374A5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Rectangle 31">
            <a:extLst>
              <a:ext uri="{FF2B5EF4-FFF2-40B4-BE49-F238E27FC236}">
                <a16:creationId xmlns:a16="http://schemas.microsoft.com/office/drawing/2014/main" id="{BFE73FCC-F058-451B-9EBB-16FFFFCCC10B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655637" y="2228476"/>
            <a:ext cx="1596274" cy="1448496"/>
          </a:xfrm>
          <a:prstGeom prst="rect">
            <a:avLst/>
          </a:prstGeom>
          <a:solidFill>
            <a:srgbClr val="748C9E"/>
          </a:solidFill>
          <a:ln w="12700">
            <a:miter lim="400000"/>
          </a:ln>
        </p:spPr>
        <p:txBody>
          <a:bodyPr lIns="35719" tIns="35719" rIns="35719" bIns="35719" anchor="ctr"/>
          <a:lstStyle/>
          <a:p>
            <a:pPr marL="0" marR="0" lvl="0" indent="0" algn="ctr" defTabSz="41075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25" b="1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or</a:t>
            </a:r>
            <a:r>
              <a:rPr kumimoji="0" lang="de-CH" sz="1125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de-CH" sz="1125" b="1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rporate</a:t>
            </a:r>
            <a:r>
              <a:rPr kumimoji="0" lang="de-CH" sz="1125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de-CH" sz="1125" b="1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ents</a:t>
            </a:r>
            <a:endParaRPr kumimoji="0" lang="de-CH" sz="1125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Helvetica Light"/>
            </a:endParaRPr>
          </a:p>
        </p:txBody>
      </p:sp>
      <p:sp>
        <p:nvSpPr>
          <p:cNvPr id="14" name="Rectangle 29">
            <a:extLst>
              <a:ext uri="{FF2B5EF4-FFF2-40B4-BE49-F238E27FC236}">
                <a16:creationId xmlns:a16="http://schemas.microsoft.com/office/drawing/2014/main" id="{39703BAA-9783-4E89-B190-1730F10D9BD6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2624070" y="2228476"/>
            <a:ext cx="5904656" cy="1418866"/>
          </a:xfrm>
          <a:prstGeom prst="rect">
            <a:avLst/>
          </a:prstGeom>
          <a:solidFill>
            <a:srgbClr val="DFDEE1"/>
          </a:solidFill>
          <a:ln>
            <a:noFill/>
          </a:ln>
        </p:spPr>
        <p:txBody>
          <a:bodyPr lIns="107993" tIns="45717" rIns="45717" bIns="45717" anchor="t" anchorCtr="0"/>
          <a:lstStyle/>
          <a:p>
            <a:pPr marL="200911" marR="0" lvl="0" indent="-200911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75000"/>
              <a:buFont typeface="Symbol" panose="05050102010706020507" pitchFamily="18" charset="2"/>
              <a:buChar char="-"/>
              <a:tabLst/>
              <a:defRPr/>
            </a:pPr>
            <a:r>
              <a:rPr kumimoji="0" lang="en-US" sz="1125" b="0" i="0" u="none" strike="noStrike" kern="1200" cap="none" spc="0" normalizeH="0" baseline="0" noProof="0" dirty="0">
                <a:ln>
                  <a:noFill/>
                </a:ln>
                <a:solidFill>
                  <a:srgbClr val="374A5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lient’s financial resources are preserved for its </a:t>
            </a:r>
            <a:r>
              <a:rPr kumimoji="0" lang="en-US" sz="1125" b="1" i="0" u="none" strike="noStrike" kern="1200" cap="none" spc="0" normalizeH="0" baseline="0" noProof="0" dirty="0">
                <a:ln>
                  <a:noFill/>
                </a:ln>
                <a:solidFill>
                  <a:srgbClr val="374A5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ore business</a:t>
            </a:r>
          </a:p>
          <a:p>
            <a:pPr marL="200911" marR="0" lvl="0" indent="-200911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75000"/>
              <a:buFont typeface="Symbol" panose="05050102010706020507" pitchFamily="18" charset="2"/>
              <a:buChar char="-"/>
              <a:tabLst/>
              <a:defRPr/>
            </a:pPr>
            <a:r>
              <a:rPr kumimoji="0" lang="en-US" sz="1125" b="0" i="0" u="none" strike="noStrike" kern="1200" cap="none" spc="0" normalizeH="0" baseline="0" noProof="0" dirty="0">
                <a:ln>
                  <a:noFill/>
                </a:ln>
                <a:solidFill>
                  <a:srgbClr val="374A5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o negative </a:t>
            </a:r>
            <a:r>
              <a:rPr kumimoji="0" lang="en-US" sz="1125" b="1" i="0" u="none" strike="noStrike" kern="1200" cap="none" spc="0" normalizeH="0" baseline="0" noProof="0" dirty="0">
                <a:ln>
                  <a:noFill/>
                </a:ln>
                <a:solidFill>
                  <a:srgbClr val="374A5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ccounting impact </a:t>
            </a:r>
            <a:r>
              <a:rPr kumimoji="0" lang="en-US" sz="1125" b="0" i="0" u="none" strike="noStrike" kern="1200" cap="none" spc="0" normalizeH="0" baseline="0" noProof="0" dirty="0">
                <a:ln>
                  <a:noFill/>
                </a:ln>
                <a:solidFill>
                  <a:srgbClr val="374A5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of litigation costs</a:t>
            </a:r>
            <a:endParaRPr kumimoji="0" lang="de-CH" sz="1125" b="0" i="0" u="none" strike="noStrike" kern="1200" cap="none" spc="0" normalizeH="0" baseline="0" noProof="0" dirty="0">
              <a:ln>
                <a:noFill/>
              </a:ln>
              <a:solidFill>
                <a:srgbClr val="374A5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00911" marR="0" lvl="0" indent="-200911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75000"/>
              <a:buFont typeface="Symbol" panose="05050102010706020507" pitchFamily="18" charset="2"/>
              <a:buChar char="-"/>
              <a:tabLst/>
              <a:defRPr/>
            </a:pPr>
            <a:r>
              <a:rPr kumimoji="0" lang="en-US" sz="1125" b="0" i="0" u="none" strike="noStrike" kern="1200" cap="none" spc="0" normalizeH="0" baseline="0" noProof="0" dirty="0">
                <a:ln>
                  <a:noFill/>
                </a:ln>
                <a:solidFill>
                  <a:srgbClr val="374A5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vailability of </a:t>
            </a:r>
            <a:r>
              <a:rPr kumimoji="0" lang="en-US" sz="1125" b="1" i="0" u="none" strike="noStrike" kern="1200" cap="none" spc="0" normalizeH="0" baseline="0" noProof="0" dirty="0">
                <a:ln>
                  <a:noFill/>
                </a:ln>
                <a:solidFill>
                  <a:srgbClr val="374A5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unding of claim portfolios</a:t>
            </a:r>
          </a:p>
          <a:p>
            <a:pPr marL="200911" marR="0" lvl="0" indent="-200911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75000"/>
              <a:buFont typeface="Symbol" panose="05050102010706020507" pitchFamily="18" charset="2"/>
              <a:buChar char="-"/>
              <a:tabLst/>
              <a:defRPr/>
            </a:pPr>
            <a:r>
              <a:rPr kumimoji="0" lang="en-US" sz="1125" b="0" i="0" u="none" strike="noStrike" kern="1200" cap="none" spc="0" normalizeH="0" baseline="0" noProof="0" dirty="0">
                <a:ln>
                  <a:noFill/>
                </a:ln>
                <a:solidFill>
                  <a:srgbClr val="374A5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vailability of </a:t>
            </a:r>
            <a:r>
              <a:rPr kumimoji="0" lang="en-US" sz="1125" b="1" i="0" u="none" strike="noStrike" kern="1200" cap="none" spc="0" normalizeH="0" baseline="0" noProof="0" dirty="0">
                <a:ln>
                  <a:noFill/>
                </a:ln>
                <a:solidFill>
                  <a:srgbClr val="374A5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onetization of claims</a:t>
            </a:r>
          </a:p>
          <a:p>
            <a:pPr marL="200911" marR="0" lvl="0" indent="-200911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75000"/>
              <a:buFont typeface="Symbol" panose="05050102010706020507" pitchFamily="18" charset="2"/>
              <a:buChar char="-"/>
              <a:tabLst/>
              <a:defRPr/>
            </a:pPr>
            <a:r>
              <a:rPr kumimoji="0" lang="en-US" sz="1125" b="0" i="0" u="none" strike="noStrike" kern="1200" cap="none" spc="0" normalizeH="0" baseline="0" noProof="0" dirty="0">
                <a:ln>
                  <a:noFill/>
                </a:ln>
                <a:solidFill>
                  <a:srgbClr val="374A5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Development of in-house litigation department from pure cost to a profit </a:t>
            </a:r>
            <a:r>
              <a:rPr kumimoji="0" lang="en-US" sz="1125" b="0" i="0" u="none" strike="noStrike" kern="1200" cap="none" spc="0" normalizeH="0" baseline="0" noProof="0" dirty="0" err="1">
                <a:ln>
                  <a:noFill/>
                </a:ln>
                <a:solidFill>
                  <a:srgbClr val="374A5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entre</a:t>
            </a:r>
            <a:endParaRPr kumimoji="0" lang="en-US" sz="1125" b="0" i="0" u="none" strike="noStrike" kern="1200" cap="none" spc="0" normalizeH="0" baseline="0" noProof="0" dirty="0">
              <a:ln>
                <a:noFill/>
              </a:ln>
              <a:solidFill>
                <a:srgbClr val="374A5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5" name="Rectangle 31">
            <a:extLst>
              <a:ext uri="{FF2B5EF4-FFF2-40B4-BE49-F238E27FC236}">
                <a16:creationId xmlns:a16="http://schemas.microsoft.com/office/drawing/2014/main" id="{766019A3-1A19-49E7-9FC9-CE1A245F43E3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655637" y="3861048"/>
            <a:ext cx="1596274" cy="1192903"/>
          </a:xfrm>
          <a:prstGeom prst="rect">
            <a:avLst/>
          </a:prstGeom>
          <a:solidFill>
            <a:srgbClr val="748C9E"/>
          </a:solidFill>
          <a:ln w="12700">
            <a:miter lim="400000"/>
          </a:ln>
        </p:spPr>
        <p:txBody>
          <a:bodyPr lIns="35719" tIns="35719" rIns="35719" bIns="35719" anchor="ctr"/>
          <a:lstStyle/>
          <a:p>
            <a:pPr marL="0" marR="0" lvl="0" indent="0" algn="ctr" defTabSz="410751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25" b="1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or</a:t>
            </a:r>
            <a:r>
              <a:rPr kumimoji="0" lang="de-CH" sz="1125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de-CH" sz="1125" b="1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aw</a:t>
            </a:r>
            <a:r>
              <a:rPr kumimoji="0" lang="de-CH" sz="1125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de-CH" sz="1125" b="1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irms</a:t>
            </a:r>
            <a:endParaRPr kumimoji="0" lang="de-CH" sz="1125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Helvetica Light"/>
            </a:endParaRPr>
          </a:p>
        </p:txBody>
      </p:sp>
      <p:sp>
        <p:nvSpPr>
          <p:cNvPr id="16" name="Rectangle 29">
            <a:extLst>
              <a:ext uri="{FF2B5EF4-FFF2-40B4-BE49-F238E27FC236}">
                <a16:creationId xmlns:a16="http://schemas.microsoft.com/office/drawing/2014/main" id="{D637542F-6F97-4835-A0A7-7FBE85C96CA1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2620356" y="3872654"/>
            <a:ext cx="5908370" cy="1192903"/>
          </a:xfrm>
          <a:prstGeom prst="rect">
            <a:avLst/>
          </a:prstGeom>
          <a:solidFill>
            <a:srgbClr val="DFDEE1"/>
          </a:solidFill>
          <a:ln>
            <a:noFill/>
          </a:ln>
        </p:spPr>
        <p:txBody>
          <a:bodyPr lIns="107993" tIns="45717" rIns="45717" bIns="45717" anchor="t" anchorCtr="0"/>
          <a:lstStyle/>
          <a:p>
            <a:pPr marL="200911" marR="0" lvl="0" indent="-200911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75000"/>
              <a:buFont typeface="Symbol" panose="05050102010706020507" pitchFamily="18" charset="2"/>
              <a:buChar char="-"/>
              <a:tabLst/>
              <a:defRPr/>
            </a:pPr>
            <a:r>
              <a:rPr kumimoji="0" lang="en-US" sz="1125" b="0" i="0" u="none" strike="noStrike" kern="1200" cap="none" spc="0" normalizeH="0" baseline="0" noProof="0" dirty="0">
                <a:ln>
                  <a:noFill/>
                </a:ln>
                <a:solidFill>
                  <a:srgbClr val="374A5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Legal </a:t>
            </a:r>
            <a:r>
              <a:rPr kumimoji="0" lang="en-US" sz="1125" b="1" i="0" u="none" strike="noStrike" kern="1200" cap="none" spc="0" normalizeH="0" baseline="0" noProof="0" dirty="0">
                <a:ln>
                  <a:noFill/>
                </a:ln>
                <a:solidFill>
                  <a:srgbClr val="374A5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voices will be paid </a:t>
            </a:r>
            <a:r>
              <a:rPr kumimoji="0" lang="en-US" sz="1125" b="0" i="0" u="none" strike="noStrike" kern="1200" cap="none" spc="0" normalizeH="0" baseline="0" noProof="0" dirty="0">
                <a:ln>
                  <a:noFill/>
                </a:ln>
                <a:solidFill>
                  <a:srgbClr val="374A5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eliably and timely</a:t>
            </a:r>
          </a:p>
          <a:p>
            <a:pPr marL="200911" marR="0" lvl="0" indent="-200911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75000"/>
              <a:buFont typeface="Symbol" panose="05050102010706020507" pitchFamily="18" charset="2"/>
              <a:buChar char="-"/>
              <a:tabLst/>
              <a:defRPr/>
            </a:pPr>
            <a:r>
              <a:rPr kumimoji="0" lang="en-US" sz="1125" b="0" i="0" u="none" strike="noStrike" kern="1200" cap="none" spc="0" normalizeH="0" baseline="0" noProof="0" dirty="0">
                <a:ln>
                  <a:noFill/>
                </a:ln>
                <a:solidFill>
                  <a:srgbClr val="374A5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Possibility to rely on </a:t>
            </a:r>
            <a:r>
              <a:rPr kumimoji="0" lang="en-US" sz="1125" b="1" i="0" u="none" strike="noStrike" kern="1200" cap="none" spc="0" normalizeH="0" baseline="0" noProof="0" dirty="0">
                <a:ln>
                  <a:noFill/>
                </a:ln>
                <a:solidFill>
                  <a:srgbClr val="374A5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dditional expert support </a:t>
            </a:r>
            <a:r>
              <a:rPr kumimoji="0" lang="en-US" sz="1125" b="0" i="0" u="none" strike="noStrike" kern="1200" cap="none" spc="0" normalizeH="0" baseline="0" noProof="0" dirty="0">
                <a:ln>
                  <a:noFill/>
                </a:ln>
                <a:solidFill>
                  <a:srgbClr val="374A5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 managing disputes</a:t>
            </a:r>
          </a:p>
          <a:p>
            <a:pPr marL="200911" marR="0" lvl="0" indent="-200911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75000"/>
              <a:buFont typeface="Symbol" panose="05050102010706020507" pitchFamily="18" charset="2"/>
              <a:buChar char="-"/>
              <a:tabLst/>
              <a:defRPr/>
            </a:pPr>
            <a:r>
              <a:rPr kumimoji="0" lang="en-US" sz="1125" b="0" i="0" u="none" strike="noStrike" kern="1200" cap="none" spc="0" normalizeH="0" baseline="0" noProof="0" dirty="0">
                <a:ln>
                  <a:noFill/>
                </a:ln>
                <a:solidFill>
                  <a:srgbClr val="374A5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isk sharing of </a:t>
            </a:r>
            <a:r>
              <a:rPr kumimoji="0" lang="en-US" sz="1125" b="1" i="0" u="none" strike="noStrike" kern="1200" cap="none" spc="0" normalizeH="0" baseline="0" noProof="0" dirty="0">
                <a:ln>
                  <a:noFill/>
                </a:ln>
                <a:solidFill>
                  <a:srgbClr val="374A5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uccess fees</a:t>
            </a:r>
          </a:p>
          <a:p>
            <a:pPr marL="200911" marR="0" lvl="0" indent="-200911" algn="l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Pct val="75000"/>
              <a:buFont typeface="Symbol" panose="05050102010706020507" pitchFamily="18" charset="2"/>
              <a:buChar char="-"/>
              <a:tabLst/>
              <a:defRPr/>
            </a:pPr>
            <a:r>
              <a:rPr kumimoji="0" lang="en-US" sz="1125" b="1" i="0" u="none" strike="noStrike" kern="1200" cap="none" spc="0" normalizeH="0" baseline="0" noProof="0" dirty="0">
                <a:ln>
                  <a:noFill/>
                </a:ln>
                <a:solidFill>
                  <a:srgbClr val="374A5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creased competitiveness </a:t>
            </a:r>
            <a:r>
              <a:rPr kumimoji="0" lang="en-US" sz="1125" b="0" i="0" u="none" strike="noStrike" kern="1200" cap="none" spc="0" normalizeH="0" baseline="0" noProof="0" dirty="0">
                <a:ln>
                  <a:noFill/>
                </a:ln>
                <a:solidFill>
                  <a:srgbClr val="374A5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by including funding options in pitches</a:t>
            </a:r>
          </a:p>
        </p:txBody>
      </p:sp>
    </p:spTree>
    <p:extLst>
      <p:ext uri="{BB962C8B-B14F-4D97-AF65-F5344CB8AC3E}">
        <p14:creationId xmlns:p14="http://schemas.microsoft.com/office/powerpoint/2010/main" val="10485158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.3AWOvWxkeU4i5rXaBgH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GYm57fHEi7tyop6FKNt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.3AWOvWxkeU4i5rXaBgH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GYm57fHEi7tyop6FKNt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.3AWOvWxkeU4i5rXaBgH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GYm57fHEi7tyop6FKNt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GYm57fHEi7tyop6FKNt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.3AWOvWxkeU4i5rXaBgH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GYm57fHEi7tyop6FKNt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.3AWOvWxkeU4i5rXaBgH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GYm57fHEi7tyop6FKNt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.3AWOvWxkeU4i5rXaBgH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GYm57fHEi7tyop6FKNt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.3AWOvWxkeU4i5rXaBgHg"/>
</p:tagLst>
</file>

<file path=ppt/theme/_rels/them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Angles">
  <a:themeElements>
    <a:clrScheme name="Personnalisé 1">
      <a:dk1>
        <a:srgbClr val="000000"/>
      </a:dk1>
      <a:lt1>
        <a:srgbClr val="FFFFFF"/>
      </a:lt1>
      <a:dk2>
        <a:srgbClr val="434342"/>
      </a:dk2>
      <a:lt2>
        <a:srgbClr val="CDD7D9"/>
      </a:lt2>
      <a:accent1>
        <a:srgbClr val="797B7E"/>
      </a:accent1>
      <a:accent2>
        <a:srgbClr val="FF8A15"/>
      </a:accent2>
      <a:accent3>
        <a:srgbClr val="0070C0"/>
      </a:accent3>
      <a:accent4>
        <a:srgbClr val="7C984A"/>
      </a:accent4>
      <a:accent5>
        <a:srgbClr val="C2AD8D"/>
      </a:accent5>
      <a:accent6>
        <a:srgbClr val="506E94"/>
      </a:accent6>
      <a:hlink>
        <a:srgbClr val="5F5F5F"/>
      </a:hlink>
      <a:folHlink>
        <a:srgbClr val="969696"/>
      </a:folHlink>
    </a:clrScheme>
    <a:fontScheme name="Angles">
      <a:majorFont>
        <a:latin typeface="Franklin Gothic Medium"/>
        <a:ea typeface=""/>
        <a:cs typeface=""/>
        <a:font script="Jpan" typeface="HG創英角ｺﾞｼｯｸUB"/>
        <a:font script="Hang" typeface="돋움"/>
        <a:font script="Hans" typeface="微软雅黑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Franklin Gothic Book"/>
        <a:ea typeface=""/>
        <a:cs typeface=""/>
        <a:font script="Jpan" typeface="ＭＳ Ｐゴシック"/>
        <a:font script="Hang" typeface="맑은 고딕"/>
        <a:font script="Hans" typeface="隶书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Angle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20400000"/>
            </a:lightRig>
          </a:scene3d>
          <a:sp3d contourW="6350">
            <a:bevelT w="41275" h="19050" prst="angle"/>
            <a:contourClr>
              <a:schemeClr val="phClr">
                <a:shade val="25000"/>
                <a:satMod val="150000"/>
              </a:schemeClr>
            </a:contourClr>
          </a:sp3d>
        </a:effectStyle>
      </a:effectStyleLst>
      <a:bgFillStyleLst>
        <a:solidFill>
          <a:schemeClr val="phClr"/>
        </a:solidFill>
        <a:blipFill rotWithShape="1">
          <a:blip xmlns:r="http://schemas.openxmlformats.org/officeDocument/2006/relationships" r:embed="rId1">
            <a:duotone>
              <a:schemeClr val="phClr">
                <a:tint val="90000"/>
                <a:shade val="85000"/>
              </a:schemeClr>
              <a:schemeClr val="phClr">
                <a:tint val="95000"/>
                <a:shade val="99000"/>
              </a:schemeClr>
            </a:duotone>
          </a:blip>
          <a:tile tx="0" ty="0" sx="100000" sy="100000" flip="none" algn="tl"/>
        </a:blipFill>
        <a:blipFill rotWithShape="1">
          <a:blip xmlns:r="http://schemas.openxmlformats.org/officeDocument/2006/relationships" r:embed="rId2">
            <a:duotone>
              <a:schemeClr val="phClr">
                <a:tint val="93000"/>
                <a:shade val="85000"/>
              </a:schemeClr>
              <a:schemeClr val="phClr">
                <a:tint val="96000"/>
                <a:shade val="99000"/>
              </a:schemeClr>
            </a:duotone>
          </a:blip>
          <a:tile tx="0" ty="0" sx="90000" sy="9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Angles</Template>
  <TotalTime>495</TotalTime>
  <Words>449</Words>
  <Application>Microsoft Office PowerPoint</Application>
  <PresentationFormat>Pokaz na ekranie (4:3)</PresentationFormat>
  <Paragraphs>98</Paragraphs>
  <Slides>14</Slides>
  <Notes>0</Notes>
  <HiddenSlides>0</HiddenSlides>
  <MMClips>0</MMClips>
  <ScaleCrop>false</ScaleCrop>
  <HeadingPairs>
    <vt:vector size="6" baseType="variant">
      <vt:variant>
        <vt:lpstr>Używane czcionki</vt:lpstr>
      </vt:variant>
      <vt:variant>
        <vt:i4>8</vt:i4>
      </vt:variant>
      <vt:variant>
        <vt:lpstr>Motyw</vt:lpstr>
      </vt:variant>
      <vt:variant>
        <vt:i4>1</vt:i4>
      </vt:variant>
      <vt:variant>
        <vt:lpstr>Tytuły slajdów</vt:lpstr>
      </vt:variant>
      <vt:variant>
        <vt:i4>14</vt:i4>
      </vt:variant>
    </vt:vector>
  </HeadingPairs>
  <TitlesOfParts>
    <vt:vector size="23" baseType="lpstr">
      <vt:lpstr>Arial</vt:lpstr>
      <vt:lpstr>Calibri</vt:lpstr>
      <vt:lpstr>Franklin Gothic Book</vt:lpstr>
      <vt:lpstr>Franklin Gothic Medium</vt:lpstr>
      <vt:lpstr>Helvetica Light</vt:lpstr>
      <vt:lpstr>Symbol</vt:lpstr>
      <vt:lpstr>Tunga</vt:lpstr>
      <vt:lpstr>Wingdings</vt:lpstr>
      <vt:lpstr>Angles</vt:lpstr>
      <vt:lpstr>2021 ICC Arbitration Rules focus on third party funding </vt:lpstr>
      <vt:lpstr>Regulamin Arbitrażowy ICC 2021:  Co Nowego?</vt:lpstr>
      <vt:lpstr>OGÓLNA EFEKTYWNOŚĆ</vt:lpstr>
      <vt:lpstr>Złożone Postępowania Arbitrażowe</vt:lpstr>
      <vt:lpstr>Postępowanie Arbitrażowe </vt:lpstr>
      <vt:lpstr>Regulamin Arbitrażowy ICC 2021 : Co Nowego?</vt:lpstr>
      <vt:lpstr>Artykuł 17: Wykazanie UMOCOWANIA Zastępstwo Procesowe</vt:lpstr>
      <vt:lpstr>Artykuł 11 – Postanowienia ogólne </vt:lpstr>
      <vt:lpstr>Added value of litigation finance</vt:lpstr>
      <vt:lpstr>Basics of litigation funding</vt:lpstr>
      <vt:lpstr>Investment process</vt:lpstr>
      <vt:lpstr>Registration to the ICC YAF Member List</vt:lpstr>
      <vt:lpstr>Prezentacja programu PowerPoint</vt:lpstr>
      <vt:lpstr>Dziękujemy za uwagę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essica Thibault</dc:creator>
  <cp:lastModifiedBy>Natalia Jodłowska</cp:lastModifiedBy>
  <cp:revision>144</cp:revision>
  <cp:lastPrinted>2012-10-09T11:22:11Z</cp:lastPrinted>
  <dcterms:created xsi:type="dcterms:W3CDTF">2012-10-08T19:14:30Z</dcterms:created>
  <dcterms:modified xsi:type="dcterms:W3CDTF">2021-01-27T19:45:23Z</dcterms:modified>
</cp:coreProperties>
</file>